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</p:sldMasterIdLst>
  <p:notesMasterIdLst>
    <p:notesMasterId r:id="rId34"/>
  </p:notesMasterIdLst>
  <p:sldIdLst>
    <p:sldId id="2145708484" r:id="rId5"/>
    <p:sldId id="2145708493" r:id="rId6"/>
    <p:sldId id="2147480933" r:id="rId7"/>
    <p:sldId id="2145708486" r:id="rId8"/>
    <p:sldId id="2145706964" r:id="rId9"/>
    <p:sldId id="2145706965" r:id="rId10"/>
    <p:sldId id="2147480952" r:id="rId11"/>
    <p:sldId id="2147480950" r:id="rId12"/>
    <p:sldId id="2147480935" r:id="rId13"/>
    <p:sldId id="2145708519" r:id="rId14"/>
    <p:sldId id="2147480951" r:id="rId15"/>
    <p:sldId id="2147480949" r:id="rId16"/>
    <p:sldId id="2145708513" r:id="rId17"/>
    <p:sldId id="2147480934" r:id="rId18"/>
    <p:sldId id="2145708498" r:id="rId19"/>
    <p:sldId id="2145708511" r:id="rId20"/>
    <p:sldId id="2147480953" r:id="rId21"/>
    <p:sldId id="2147480937" r:id="rId22"/>
    <p:sldId id="2147480936" r:id="rId23"/>
    <p:sldId id="2147480939" r:id="rId24"/>
    <p:sldId id="2147480940" r:id="rId25"/>
    <p:sldId id="2147480941" r:id="rId26"/>
    <p:sldId id="2147480942" r:id="rId27"/>
    <p:sldId id="2145708503" r:id="rId28"/>
    <p:sldId id="2147480956" r:id="rId29"/>
    <p:sldId id="2147480954" r:id="rId30"/>
    <p:sldId id="2147480955" r:id="rId31"/>
    <p:sldId id="2147480906" r:id="rId32"/>
    <p:sldId id="2147480913" r:id="rId3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A737F20-7D8D-E636-96F1-52861FD918F9}" name="Wright, Brittany" initials="BW" userId="S::Brittany.Wright@tea.texas.gov::618b0019-cc63-47a3-bc1c-b9ab522d0200" providerId="AD"/>
  <p188:author id="{7542DC20-DA26-FDCE-461E-B0F1502EFE62}" name="Reis, Stephanie" initials="SR" userId="S::Stephanie.Reis@tea.texas.gov::7cf5c866-0d01-4d49-8f81-0e9f4a823a07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35607"/>
    <a:srgbClr val="E35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C61B8BD-DEBA-4FD2-B0FE-F57C570D0BFE}" v="3" dt="2026-03-30T22:13:24.37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57" d="100"/>
          <a:sy n="57" d="100"/>
        </p:scale>
        <p:origin x="28" y="2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theme" Target="theme/theme1.xml"/><Relationship Id="rId40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uffoletto, Jamie" userId="daf1e3c6-8137-448a-b141-d23049d419b5" providerId="ADAL" clId="{6707C96A-2FD2-439C-9F78-3BE9477FF296}"/>
    <pc:docChg chg="custSel modSld">
      <pc:chgData name="Muffoletto, Jamie" userId="daf1e3c6-8137-448a-b141-d23049d419b5" providerId="ADAL" clId="{6707C96A-2FD2-439C-9F78-3BE9477FF296}" dt="2026-03-30T22:13:24.379" v="473" actId="962"/>
      <pc:docMkLst>
        <pc:docMk/>
      </pc:docMkLst>
      <pc:sldChg chg="modSp mod">
        <pc:chgData name="Muffoletto, Jamie" userId="daf1e3c6-8137-448a-b141-d23049d419b5" providerId="ADAL" clId="{6707C96A-2FD2-439C-9F78-3BE9477FF296}" dt="2026-03-30T22:13:15.387" v="469" actId="962"/>
        <pc:sldMkLst>
          <pc:docMk/>
          <pc:sldMk cId="441243443" sldId="2145706964"/>
        </pc:sldMkLst>
        <pc:spChg chg="ord">
          <ac:chgData name="Muffoletto, Jamie" userId="daf1e3c6-8137-448a-b141-d23049d419b5" providerId="ADAL" clId="{6707C96A-2FD2-439C-9F78-3BE9477FF296}" dt="2026-03-30T21:54:37.701" v="3" actId="13244"/>
          <ac:spMkLst>
            <pc:docMk/>
            <pc:sldMk cId="441243443" sldId="2145706964"/>
            <ac:spMk id="10" creationId="{281C3200-4729-3BE8-19BD-C02995ABAF3F}"/>
          </ac:spMkLst>
        </pc:spChg>
        <pc:picChg chg="mod ord">
          <ac:chgData name="Muffoletto, Jamie" userId="daf1e3c6-8137-448a-b141-d23049d419b5" providerId="ADAL" clId="{6707C96A-2FD2-439C-9F78-3BE9477FF296}" dt="2026-03-30T22:13:15.387" v="469" actId="962"/>
          <ac:picMkLst>
            <pc:docMk/>
            <pc:sldMk cId="441243443" sldId="2145706964"/>
            <ac:picMk id="5" creationId="{D4299E6B-BE0B-A300-1A02-38C8356EF4FB}"/>
          </ac:picMkLst>
        </pc:picChg>
      </pc:sldChg>
      <pc:sldChg chg="modSp mod">
        <pc:chgData name="Muffoletto, Jamie" userId="daf1e3c6-8137-448a-b141-d23049d419b5" providerId="ADAL" clId="{6707C96A-2FD2-439C-9F78-3BE9477FF296}" dt="2026-03-30T22:13:13.068" v="468" actId="962"/>
        <pc:sldMkLst>
          <pc:docMk/>
          <pc:sldMk cId="1917943673" sldId="2145708486"/>
        </pc:sldMkLst>
        <pc:spChg chg="ord">
          <ac:chgData name="Muffoletto, Jamie" userId="daf1e3c6-8137-448a-b141-d23049d419b5" providerId="ADAL" clId="{6707C96A-2FD2-439C-9F78-3BE9477FF296}" dt="2026-03-30T21:54:24.197" v="2" actId="13244"/>
          <ac:spMkLst>
            <pc:docMk/>
            <pc:sldMk cId="1917943673" sldId="2145708486"/>
            <ac:spMk id="4" creationId="{5B927CB4-834E-6953-7B50-7115B38871A6}"/>
          </ac:spMkLst>
        </pc:spChg>
        <pc:graphicFrameChg chg="mod">
          <ac:chgData name="Muffoletto, Jamie" userId="daf1e3c6-8137-448a-b141-d23049d419b5" providerId="ADAL" clId="{6707C96A-2FD2-439C-9F78-3BE9477FF296}" dt="2026-03-30T22:13:13.068" v="468" actId="962"/>
          <ac:graphicFrameMkLst>
            <pc:docMk/>
            <pc:sldMk cId="1917943673" sldId="2145708486"/>
            <ac:graphicFrameMk id="3" creationId="{3B3970EF-C7F9-C30A-B64A-83ED77F1D93B}"/>
          </ac:graphicFrameMkLst>
        </pc:graphicFrameChg>
      </pc:sldChg>
      <pc:sldChg chg="modSp mod">
        <pc:chgData name="Muffoletto, Jamie" userId="daf1e3c6-8137-448a-b141-d23049d419b5" providerId="ADAL" clId="{6707C96A-2FD2-439C-9F78-3BE9477FF296}" dt="2026-03-30T22:13:01.401" v="466" actId="962"/>
        <pc:sldMkLst>
          <pc:docMk/>
          <pc:sldMk cId="1726156361" sldId="2145708493"/>
        </pc:sldMkLst>
        <pc:spChg chg="mod">
          <ac:chgData name="Muffoletto, Jamie" userId="daf1e3c6-8137-448a-b141-d23049d419b5" providerId="ADAL" clId="{6707C96A-2FD2-439C-9F78-3BE9477FF296}" dt="2026-03-30T22:12:34.219" v="461" actId="962"/>
          <ac:spMkLst>
            <pc:docMk/>
            <pc:sldMk cId="1726156361" sldId="2145708493"/>
            <ac:spMk id="9" creationId="{D3513852-B396-359B-EF3A-7716B12FB35D}"/>
          </ac:spMkLst>
        </pc:spChg>
        <pc:spChg chg="mod">
          <ac:chgData name="Muffoletto, Jamie" userId="daf1e3c6-8137-448a-b141-d23049d419b5" providerId="ADAL" clId="{6707C96A-2FD2-439C-9F78-3BE9477FF296}" dt="2026-03-30T22:12:51.433" v="464" actId="962"/>
          <ac:spMkLst>
            <pc:docMk/>
            <pc:sldMk cId="1726156361" sldId="2145708493"/>
            <ac:spMk id="10" creationId="{7C99DFE1-841C-972C-BE7C-B0DB7120C39F}"/>
          </ac:spMkLst>
        </pc:spChg>
        <pc:spChg chg="ord">
          <ac:chgData name="Muffoletto, Jamie" userId="daf1e3c6-8137-448a-b141-d23049d419b5" providerId="ADAL" clId="{6707C96A-2FD2-439C-9F78-3BE9477FF296}" dt="2026-03-30T21:54:05.571" v="1" actId="13244"/>
          <ac:spMkLst>
            <pc:docMk/>
            <pc:sldMk cId="1726156361" sldId="2145708493"/>
            <ac:spMk id="16" creationId="{2317D92F-F15C-0464-180A-1598518F7396}"/>
          </ac:spMkLst>
        </pc:spChg>
        <pc:picChg chg="mod ord">
          <ac:chgData name="Muffoletto, Jamie" userId="daf1e3c6-8137-448a-b141-d23049d419b5" providerId="ADAL" clId="{6707C96A-2FD2-439C-9F78-3BE9477FF296}" dt="2026-03-30T22:12:49.071" v="463" actId="962"/>
          <ac:picMkLst>
            <pc:docMk/>
            <pc:sldMk cId="1726156361" sldId="2145708493"/>
            <ac:picMk id="13" creationId="{995336FD-1990-4DA0-F0B9-814F63ED3DE0}"/>
          </ac:picMkLst>
        </pc:picChg>
        <pc:picChg chg="mod">
          <ac:chgData name="Muffoletto, Jamie" userId="daf1e3c6-8137-448a-b141-d23049d419b5" providerId="ADAL" clId="{6707C96A-2FD2-439C-9F78-3BE9477FF296}" dt="2026-03-30T22:13:01.401" v="466" actId="962"/>
          <ac:picMkLst>
            <pc:docMk/>
            <pc:sldMk cId="1726156361" sldId="2145708493"/>
            <ac:picMk id="14" creationId="{00B2ED3C-7D79-F3C2-5FDD-2CA549215D99}"/>
          </ac:picMkLst>
        </pc:picChg>
      </pc:sldChg>
      <pc:sldChg chg="addSp delSp modSp mod">
        <pc:chgData name="Muffoletto, Jamie" userId="daf1e3c6-8137-448a-b141-d23049d419b5" providerId="ADAL" clId="{6707C96A-2FD2-439C-9F78-3BE9477FF296}" dt="2026-03-30T22:07:07.863" v="259" actId="962"/>
        <pc:sldMkLst>
          <pc:docMk/>
          <pc:sldMk cId="1079365558" sldId="2145708498"/>
        </pc:sldMkLst>
        <pc:spChg chg="del">
          <ac:chgData name="Muffoletto, Jamie" userId="daf1e3c6-8137-448a-b141-d23049d419b5" providerId="ADAL" clId="{6707C96A-2FD2-439C-9F78-3BE9477FF296}" dt="2026-03-30T22:06:25.340" v="139" actId="478"/>
          <ac:spMkLst>
            <pc:docMk/>
            <pc:sldMk cId="1079365558" sldId="2145708498"/>
            <ac:spMk id="13" creationId="{23E65761-B774-582A-B44E-C04324E7D745}"/>
          </ac:spMkLst>
        </pc:spChg>
        <pc:spChg chg="del">
          <ac:chgData name="Muffoletto, Jamie" userId="daf1e3c6-8137-448a-b141-d23049d419b5" providerId="ADAL" clId="{6707C96A-2FD2-439C-9F78-3BE9477FF296}" dt="2026-03-30T22:06:25.340" v="139" actId="478"/>
          <ac:spMkLst>
            <pc:docMk/>
            <pc:sldMk cId="1079365558" sldId="2145708498"/>
            <ac:spMk id="15" creationId="{FFD4E4C4-3E78-3E19-130A-0A2981C70382}"/>
          </ac:spMkLst>
        </pc:spChg>
        <pc:spChg chg="del">
          <ac:chgData name="Muffoletto, Jamie" userId="daf1e3c6-8137-448a-b141-d23049d419b5" providerId="ADAL" clId="{6707C96A-2FD2-439C-9F78-3BE9477FF296}" dt="2026-03-30T22:06:30.939" v="140" actId="478"/>
          <ac:spMkLst>
            <pc:docMk/>
            <pc:sldMk cId="1079365558" sldId="2145708498"/>
            <ac:spMk id="35" creationId="{58444735-889E-8035-4A5C-B665A160E815}"/>
          </ac:spMkLst>
        </pc:spChg>
        <pc:spChg chg="del">
          <ac:chgData name="Muffoletto, Jamie" userId="daf1e3c6-8137-448a-b141-d23049d419b5" providerId="ADAL" clId="{6707C96A-2FD2-439C-9F78-3BE9477FF296}" dt="2026-03-30T22:06:34.898" v="143" actId="478"/>
          <ac:spMkLst>
            <pc:docMk/>
            <pc:sldMk cId="1079365558" sldId="2145708498"/>
            <ac:spMk id="39" creationId="{114AD0A0-D849-EE36-87BB-F2FF7D561657}"/>
          </ac:spMkLst>
        </pc:spChg>
        <pc:spChg chg="del">
          <ac:chgData name="Muffoletto, Jamie" userId="daf1e3c6-8137-448a-b141-d23049d419b5" providerId="ADAL" clId="{6707C96A-2FD2-439C-9F78-3BE9477FF296}" dt="2026-03-30T22:06:35.865" v="144" actId="478"/>
          <ac:spMkLst>
            <pc:docMk/>
            <pc:sldMk cId="1079365558" sldId="2145708498"/>
            <ac:spMk id="46" creationId="{1CDBC56E-B537-29D8-2F2A-672B639FD107}"/>
          </ac:spMkLst>
        </pc:spChg>
        <pc:spChg chg="del">
          <ac:chgData name="Muffoletto, Jamie" userId="daf1e3c6-8137-448a-b141-d23049d419b5" providerId="ADAL" clId="{6707C96A-2FD2-439C-9F78-3BE9477FF296}" dt="2026-03-30T22:06:33.083" v="142" actId="478"/>
          <ac:spMkLst>
            <pc:docMk/>
            <pc:sldMk cId="1079365558" sldId="2145708498"/>
            <ac:spMk id="47" creationId="{0D1096CD-D965-39C0-7F93-BE8BFE4E7197}"/>
          </ac:spMkLst>
        </pc:spChg>
        <pc:spChg chg="del">
          <ac:chgData name="Muffoletto, Jamie" userId="daf1e3c6-8137-448a-b141-d23049d419b5" providerId="ADAL" clId="{6707C96A-2FD2-439C-9F78-3BE9477FF296}" dt="2026-03-30T22:06:37.653" v="145" actId="478"/>
          <ac:spMkLst>
            <pc:docMk/>
            <pc:sldMk cId="1079365558" sldId="2145708498"/>
            <ac:spMk id="48" creationId="{6BC4024D-13E9-98EB-7E7B-D489CA226AC5}"/>
          </ac:spMkLst>
        </pc:spChg>
        <pc:spChg chg="del">
          <ac:chgData name="Muffoletto, Jamie" userId="daf1e3c6-8137-448a-b141-d23049d419b5" providerId="ADAL" clId="{6707C96A-2FD2-439C-9F78-3BE9477FF296}" dt="2026-03-30T22:06:32.077" v="141" actId="478"/>
          <ac:spMkLst>
            <pc:docMk/>
            <pc:sldMk cId="1079365558" sldId="2145708498"/>
            <ac:spMk id="57" creationId="{166F15D7-FADA-6C43-5B8B-EE842B6CD228}"/>
          </ac:spMkLst>
        </pc:spChg>
        <pc:spChg chg="del">
          <ac:chgData name="Muffoletto, Jamie" userId="daf1e3c6-8137-448a-b141-d23049d419b5" providerId="ADAL" clId="{6707C96A-2FD2-439C-9F78-3BE9477FF296}" dt="2026-03-30T22:06:25.340" v="139" actId="478"/>
          <ac:spMkLst>
            <pc:docMk/>
            <pc:sldMk cId="1079365558" sldId="2145708498"/>
            <ac:spMk id="58" creationId="{41510DE3-2E0D-E426-200E-20083B340C00}"/>
          </ac:spMkLst>
        </pc:spChg>
        <pc:spChg chg="del">
          <ac:chgData name="Muffoletto, Jamie" userId="daf1e3c6-8137-448a-b141-d23049d419b5" providerId="ADAL" clId="{6707C96A-2FD2-439C-9F78-3BE9477FF296}" dt="2026-03-30T22:06:25.340" v="139" actId="478"/>
          <ac:spMkLst>
            <pc:docMk/>
            <pc:sldMk cId="1079365558" sldId="2145708498"/>
            <ac:spMk id="60" creationId="{131DF0D3-C63D-3328-7176-849B32FAE35E}"/>
          </ac:spMkLst>
        </pc:spChg>
        <pc:spChg chg="del">
          <ac:chgData name="Muffoletto, Jamie" userId="daf1e3c6-8137-448a-b141-d23049d419b5" providerId="ADAL" clId="{6707C96A-2FD2-439C-9F78-3BE9477FF296}" dt="2026-03-30T22:06:25.340" v="139" actId="478"/>
          <ac:spMkLst>
            <pc:docMk/>
            <pc:sldMk cId="1079365558" sldId="2145708498"/>
            <ac:spMk id="65" creationId="{11718B40-DA44-E3E2-F38B-23C3283D9849}"/>
          </ac:spMkLst>
        </pc:spChg>
        <pc:spChg chg="del">
          <ac:chgData name="Muffoletto, Jamie" userId="daf1e3c6-8137-448a-b141-d23049d419b5" providerId="ADAL" clId="{6707C96A-2FD2-439C-9F78-3BE9477FF296}" dt="2026-03-30T22:06:25.340" v="139" actId="478"/>
          <ac:spMkLst>
            <pc:docMk/>
            <pc:sldMk cId="1079365558" sldId="2145708498"/>
            <ac:spMk id="66" creationId="{8B3C5BDC-BAAE-0B8C-A54B-73065630300E}"/>
          </ac:spMkLst>
        </pc:spChg>
        <pc:spChg chg="del">
          <ac:chgData name="Muffoletto, Jamie" userId="daf1e3c6-8137-448a-b141-d23049d419b5" providerId="ADAL" clId="{6707C96A-2FD2-439C-9F78-3BE9477FF296}" dt="2026-03-30T22:06:25.340" v="139" actId="478"/>
          <ac:spMkLst>
            <pc:docMk/>
            <pc:sldMk cId="1079365558" sldId="2145708498"/>
            <ac:spMk id="67" creationId="{27529136-DBE1-F011-F900-184E2937DA08}"/>
          </ac:spMkLst>
        </pc:spChg>
        <pc:spChg chg="del">
          <ac:chgData name="Muffoletto, Jamie" userId="daf1e3c6-8137-448a-b141-d23049d419b5" providerId="ADAL" clId="{6707C96A-2FD2-439C-9F78-3BE9477FF296}" dt="2026-03-30T22:06:25.340" v="139" actId="478"/>
          <ac:spMkLst>
            <pc:docMk/>
            <pc:sldMk cId="1079365558" sldId="2145708498"/>
            <ac:spMk id="71" creationId="{46296ED3-F40C-CDDA-C243-F09759A1E737}"/>
          </ac:spMkLst>
        </pc:spChg>
        <pc:spChg chg="del">
          <ac:chgData name="Muffoletto, Jamie" userId="daf1e3c6-8137-448a-b141-d23049d419b5" providerId="ADAL" clId="{6707C96A-2FD2-439C-9F78-3BE9477FF296}" dt="2026-03-30T22:06:25.340" v="139" actId="478"/>
          <ac:spMkLst>
            <pc:docMk/>
            <pc:sldMk cId="1079365558" sldId="2145708498"/>
            <ac:spMk id="74" creationId="{D32813A5-B2D0-720D-2396-4B0BFB4EFB2D}"/>
          </ac:spMkLst>
        </pc:spChg>
        <pc:spChg chg="del">
          <ac:chgData name="Muffoletto, Jamie" userId="daf1e3c6-8137-448a-b141-d23049d419b5" providerId="ADAL" clId="{6707C96A-2FD2-439C-9F78-3BE9477FF296}" dt="2026-03-30T22:06:25.340" v="139" actId="478"/>
          <ac:spMkLst>
            <pc:docMk/>
            <pc:sldMk cId="1079365558" sldId="2145708498"/>
            <ac:spMk id="76" creationId="{E7EAE106-5671-AE7A-2A52-6242A1D2EA95}"/>
          </ac:spMkLst>
        </pc:spChg>
        <pc:picChg chg="add mod">
          <ac:chgData name="Muffoletto, Jamie" userId="daf1e3c6-8137-448a-b141-d23049d419b5" providerId="ADAL" clId="{6707C96A-2FD2-439C-9F78-3BE9477FF296}" dt="2026-03-30T22:07:07.863" v="259" actId="962"/>
          <ac:picMkLst>
            <pc:docMk/>
            <pc:sldMk cId="1079365558" sldId="2145708498"/>
            <ac:picMk id="10" creationId="{9190C089-F729-8AD1-BB9A-762DE9E2DC39}"/>
          </ac:picMkLst>
        </pc:picChg>
      </pc:sldChg>
      <pc:sldChg chg="addSp delSp modSp mod">
        <pc:chgData name="Muffoletto, Jamie" userId="daf1e3c6-8137-448a-b141-d23049d419b5" providerId="ADAL" clId="{6707C96A-2FD2-439C-9F78-3BE9477FF296}" dt="2026-03-30T22:12:21.051" v="460" actId="962"/>
        <pc:sldMkLst>
          <pc:docMk/>
          <pc:sldMk cId="3912036486" sldId="2145708503"/>
        </pc:sldMkLst>
        <pc:spChg chg="del">
          <ac:chgData name="Muffoletto, Jamie" userId="daf1e3c6-8137-448a-b141-d23049d419b5" providerId="ADAL" clId="{6707C96A-2FD2-439C-9F78-3BE9477FF296}" dt="2026-03-30T22:11:40.604" v="406" actId="478"/>
          <ac:spMkLst>
            <pc:docMk/>
            <pc:sldMk cId="3912036486" sldId="2145708503"/>
            <ac:spMk id="92" creationId="{24F788C2-B433-5C3A-AE4D-BB869A1B1EB8}"/>
          </ac:spMkLst>
        </pc:spChg>
        <pc:spChg chg="del">
          <ac:chgData name="Muffoletto, Jamie" userId="daf1e3c6-8137-448a-b141-d23049d419b5" providerId="ADAL" clId="{6707C96A-2FD2-439C-9F78-3BE9477FF296}" dt="2026-03-30T22:11:46.618" v="409" actId="478"/>
          <ac:spMkLst>
            <pc:docMk/>
            <pc:sldMk cId="3912036486" sldId="2145708503"/>
            <ac:spMk id="93" creationId="{F10037E0-00A5-AE6B-9482-04631A6C1A17}"/>
          </ac:spMkLst>
        </pc:spChg>
        <pc:spChg chg="del">
          <ac:chgData name="Muffoletto, Jamie" userId="daf1e3c6-8137-448a-b141-d23049d419b5" providerId="ADAL" clId="{6707C96A-2FD2-439C-9F78-3BE9477FF296}" dt="2026-03-30T22:11:46.618" v="409" actId="478"/>
          <ac:spMkLst>
            <pc:docMk/>
            <pc:sldMk cId="3912036486" sldId="2145708503"/>
            <ac:spMk id="94" creationId="{D7AA4FB2-7307-E687-B89A-D2B14F1AA356}"/>
          </ac:spMkLst>
        </pc:spChg>
        <pc:spChg chg="del">
          <ac:chgData name="Muffoletto, Jamie" userId="daf1e3c6-8137-448a-b141-d23049d419b5" providerId="ADAL" clId="{6707C96A-2FD2-439C-9F78-3BE9477FF296}" dt="2026-03-30T22:11:46.618" v="409" actId="478"/>
          <ac:spMkLst>
            <pc:docMk/>
            <pc:sldMk cId="3912036486" sldId="2145708503"/>
            <ac:spMk id="101" creationId="{98520E95-CB28-E550-4899-62B8E7C32302}"/>
          </ac:spMkLst>
        </pc:spChg>
        <pc:spChg chg="del">
          <ac:chgData name="Muffoletto, Jamie" userId="daf1e3c6-8137-448a-b141-d23049d419b5" providerId="ADAL" clId="{6707C96A-2FD2-439C-9F78-3BE9477FF296}" dt="2026-03-30T22:11:46.618" v="409" actId="478"/>
          <ac:spMkLst>
            <pc:docMk/>
            <pc:sldMk cId="3912036486" sldId="2145708503"/>
            <ac:spMk id="102" creationId="{4ACE565C-2DC2-1E47-7FBD-56DA7BC4A54A}"/>
          </ac:spMkLst>
        </pc:spChg>
        <pc:spChg chg="del">
          <ac:chgData name="Muffoletto, Jamie" userId="daf1e3c6-8137-448a-b141-d23049d419b5" providerId="ADAL" clId="{6707C96A-2FD2-439C-9F78-3BE9477FF296}" dt="2026-03-30T22:11:46.618" v="409" actId="478"/>
          <ac:spMkLst>
            <pc:docMk/>
            <pc:sldMk cId="3912036486" sldId="2145708503"/>
            <ac:spMk id="103" creationId="{7F80EB9E-49F1-2E0A-FE05-D1DAEFA861D2}"/>
          </ac:spMkLst>
        </pc:spChg>
        <pc:spChg chg="del">
          <ac:chgData name="Muffoletto, Jamie" userId="daf1e3c6-8137-448a-b141-d23049d419b5" providerId="ADAL" clId="{6707C96A-2FD2-439C-9F78-3BE9477FF296}" dt="2026-03-30T22:11:41.659" v="407" actId="478"/>
          <ac:spMkLst>
            <pc:docMk/>
            <pc:sldMk cId="3912036486" sldId="2145708503"/>
            <ac:spMk id="112" creationId="{DB44F28A-0E21-A920-A6E2-C95D6CC0CE99}"/>
          </ac:spMkLst>
        </pc:spChg>
        <pc:grpChg chg="del">
          <ac:chgData name="Muffoletto, Jamie" userId="daf1e3c6-8137-448a-b141-d23049d419b5" providerId="ADAL" clId="{6707C96A-2FD2-439C-9F78-3BE9477FF296}" dt="2026-03-30T22:11:52.051" v="412" actId="478"/>
          <ac:grpSpMkLst>
            <pc:docMk/>
            <pc:sldMk cId="3912036486" sldId="2145708503"/>
            <ac:grpSpMk id="64" creationId="{615C346D-333F-3535-1225-1C989D265885}"/>
          </ac:grpSpMkLst>
        </pc:grpChg>
        <pc:grpChg chg="del">
          <ac:chgData name="Muffoletto, Jamie" userId="daf1e3c6-8137-448a-b141-d23049d419b5" providerId="ADAL" clId="{6707C96A-2FD2-439C-9F78-3BE9477FF296}" dt="2026-03-30T22:11:50.213" v="410" actId="478"/>
          <ac:grpSpMkLst>
            <pc:docMk/>
            <pc:sldMk cId="3912036486" sldId="2145708503"/>
            <ac:grpSpMk id="65" creationId="{E2AD430A-3CF7-EC76-1244-952F41B62BF9}"/>
          </ac:grpSpMkLst>
        </pc:grpChg>
        <pc:grpChg chg="del">
          <ac:chgData name="Muffoletto, Jamie" userId="daf1e3c6-8137-448a-b141-d23049d419b5" providerId="ADAL" clId="{6707C96A-2FD2-439C-9F78-3BE9477FF296}" dt="2026-03-30T22:11:46.618" v="409" actId="478"/>
          <ac:grpSpMkLst>
            <pc:docMk/>
            <pc:sldMk cId="3912036486" sldId="2145708503"/>
            <ac:grpSpMk id="70" creationId="{CAC6719D-F4C9-2C44-0681-A248F050D883}"/>
          </ac:grpSpMkLst>
        </pc:grpChg>
        <pc:grpChg chg="del">
          <ac:chgData name="Muffoletto, Jamie" userId="daf1e3c6-8137-448a-b141-d23049d419b5" providerId="ADAL" clId="{6707C96A-2FD2-439C-9F78-3BE9477FF296}" dt="2026-03-30T22:11:46.618" v="409" actId="478"/>
          <ac:grpSpMkLst>
            <pc:docMk/>
            <pc:sldMk cId="3912036486" sldId="2145708503"/>
            <ac:grpSpMk id="75" creationId="{D34316F4-E50B-6EC4-3FBC-C86311BA06CC}"/>
          </ac:grpSpMkLst>
        </pc:grpChg>
        <pc:grpChg chg="del">
          <ac:chgData name="Muffoletto, Jamie" userId="daf1e3c6-8137-448a-b141-d23049d419b5" providerId="ADAL" clId="{6707C96A-2FD2-439C-9F78-3BE9477FF296}" dt="2026-03-30T22:11:37.915" v="405" actId="478"/>
          <ac:grpSpMkLst>
            <pc:docMk/>
            <pc:sldMk cId="3912036486" sldId="2145708503"/>
            <ac:grpSpMk id="80" creationId="{07ED8604-C776-AF31-80CD-A31B5CDC2553}"/>
          </ac:grpSpMkLst>
        </pc:grpChg>
        <pc:grpChg chg="del">
          <ac:chgData name="Muffoletto, Jamie" userId="daf1e3c6-8137-448a-b141-d23049d419b5" providerId="ADAL" clId="{6707C96A-2FD2-439C-9F78-3BE9477FF296}" dt="2026-03-30T22:11:51.127" v="411" actId="478"/>
          <ac:grpSpMkLst>
            <pc:docMk/>
            <pc:sldMk cId="3912036486" sldId="2145708503"/>
            <ac:grpSpMk id="96" creationId="{BDC81A54-11CC-857E-F875-FE72B4EE6921}"/>
          </ac:grpSpMkLst>
        </pc:grpChg>
        <pc:picChg chg="add mod">
          <ac:chgData name="Muffoletto, Jamie" userId="daf1e3c6-8137-448a-b141-d23049d419b5" providerId="ADAL" clId="{6707C96A-2FD2-439C-9F78-3BE9477FF296}" dt="2026-03-30T22:12:21.051" v="460" actId="962"/>
          <ac:picMkLst>
            <pc:docMk/>
            <pc:sldMk cId="3912036486" sldId="2145708503"/>
            <ac:picMk id="5" creationId="{F17C2985-A437-248A-6E64-8F1D95F2D624}"/>
          </ac:picMkLst>
        </pc:picChg>
        <pc:picChg chg="del">
          <ac:chgData name="Muffoletto, Jamie" userId="daf1e3c6-8137-448a-b141-d23049d419b5" providerId="ADAL" clId="{6707C96A-2FD2-439C-9F78-3BE9477FF296}" dt="2026-03-30T22:11:42.846" v="408" actId="478"/>
          <ac:picMkLst>
            <pc:docMk/>
            <pc:sldMk cId="3912036486" sldId="2145708503"/>
            <ac:picMk id="107" creationId="{AC97EA18-F6A0-A536-B5E6-FBB22C8D1532}"/>
          </ac:picMkLst>
        </pc:picChg>
      </pc:sldChg>
      <pc:sldChg chg="addSp delSp modSp mod">
        <pc:chgData name="Muffoletto, Jamie" userId="daf1e3c6-8137-448a-b141-d23049d419b5" providerId="ADAL" clId="{6707C96A-2FD2-439C-9F78-3BE9477FF296}" dt="2026-03-30T22:08:45.805" v="399" actId="962"/>
        <pc:sldMkLst>
          <pc:docMk/>
          <pc:sldMk cId="3273565483" sldId="2145708511"/>
        </pc:sldMkLst>
        <pc:spChg chg="ord">
          <ac:chgData name="Muffoletto, Jamie" userId="daf1e3c6-8137-448a-b141-d23049d419b5" providerId="ADAL" clId="{6707C96A-2FD2-439C-9F78-3BE9477FF296}" dt="2026-03-30T22:08:26.433" v="271" actId="13244"/>
          <ac:spMkLst>
            <pc:docMk/>
            <pc:sldMk cId="3273565483" sldId="2145708511"/>
            <ac:spMk id="4" creationId="{2331F5B7-6D24-3D99-23DD-55A283F33E3A}"/>
          </ac:spMkLst>
        </pc:spChg>
        <pc:spChg chg="del">
          <ac:chgData name="Muffoletto, Jamie" userId="daf1e3c6-8137-448a-b141-d23049d419b5" providerId="ADAL" clId="{6707C96A-2FD2-439C-9F78-3BE9477FF296}" dt="2026-03-30T22:08:06.393" v="261" actId="478"/>
          <ac:spMkLst>
            <pc:docMk/>
            <pc:sldMk cId="3273565483" sldId="2145708511"/>
            <ac:spMk id="17" creationId="{F35A7DA1-1444-5769-86E1-90A8BF1C89B1}"/>
          </ac:spMkLst>
        </pc:spChg>
        <pc:spChg chg="del">
          <ac:chgData name="Muffoletto, Jamie" userId="daf1e3c6-8137-448a-b141-d23049d419b5" providerId="ADAL" clId="{6707C96A-2FD2-439C-9F78-3BE9477FF296}" dt="2026-03-30T22:07:59.925" v="260" actId="478"/>
          <ac:spMkLst>
            <pc:docMk/>
            <pc:sldMk cId="3273565483" sldId="2145708511"/>
            <ac:spMk id="18" creationId="{04ED06D3-849B-3033-1475-60F668AE418E}"/>
          </ac:spMkLst>
        </pc:spChg>
        <pc:spChg chg="del">
          <ac:chgData name="Muffoletto, Jamie" userId="daf1e3c6-8137-448a-b141-d23049d419b5" providerId="ADAL" clId="{6707C96A-2FD2-439C-9F78-3BE9477FF296}" dt="2026-03-30T22:08:09.443" v="263" actId="478"/>
          <ac:spMkLst>
            <pc:docMk/>
            <pc:sldMk cId="3273565483" sldId="2145708511"/>
            <ac:spMk id="39" creationId="{0E6B7935-B0EB-A25C-30C5-5AB0EF8C1294}"/>
          </ac:spMkLst>
        </pc:spChg>
        <pc:spChg chg="del">
          <ac:chgData name="Muffoletto, Jamie" userId="daf1e3c6-8137-448a-b141-d23049d419b5" providerId="ADAL" clId="{6707C96A-2FD2-439C-9F78-3BE9477FF296}" dt="2026-03-30T22:08:10.358" v="264" actId="478"/>
          <ac:spMkLst>
            <pc:docMk/>
            <pc:sldMk cId="3273565483" sldId="2145708511"/>
            <ac:spMk id="46" creationId="{F09BC0F5-93CC-9BA1-B803-4B8B0919D259}"/>
          </ac:spMkLst>
        </pc:spChg>
        <pc:spChg chg="del">
          <ac:chgData name="Muffoletto, Jamie" userId="daf1e3c6-8137-448a-b141-d23049d419b5" providerId="ADAL" clId="{6707C96A-2FD2-439C-9F78-3BE9477FF296}" dt="2026-03-30T22:08:11.040" v="265" actId="478"/>
          <ac:spMkLst>
            <pc:docMk/>
            <pc:sldMk cId="3273565483" sldId="2145708511"/>
            <ac:spMk id="47" creationId="{89047543-4227-4456-12F0-1181D7F6C154}"/>
          </ac:spMkLst>
        </pc:spChg>
        <pc:spChg chg="del">
          <ac:chgData name="Muffoletto, Jamie" userId="daf1e3c6-8137-448a-b141-d23049d419b5" providerId="ADAL" clId="{6707C96A-2FD2-439C-9F78-3BE9477FF296}" dt="2026-03-30T22:08:11.990" v="266" actId="478"/>
          <ac:spMkLst>
            <pc:docMk/>
            <pc:sldMk cId="3273565483" sldId="2145708511"/>
            <ac:spMk id="48" creationId="{C66A224D-6743-BF89-A93F-652517280CED}"/>
          </ac:spMkLst>
        </pc:spChg>
        <pc:spChg chg="del">
          <ac:chgData name="Muffoletto, Jamie" userId="daf1e3c6-8137-448a-b141-d23049d419b5" providerId="ADAL" clId="{6707C96A-2FD2-439C-9F78-3BE9477FF296}" dt="2026-03-30T22:08:08.586" v="262" actId="478"/>
          <ac:spMkLst>
            <pc:docMk/>
            <pc:sldMk cId="3273565483" sldId="2145708511"/>
            <ac:spMk id="57" creationId="{F0BED913-B521-D22C-27B8-B525177AEE1C}"/>
          </ac:spMkLst>
        </pc:spChg>
        <pc:spChg chg="del">
          <ac:chgData name="Muffoletto, Jamie" userId="daf1e3c6-8137-448a-b141-d23049d419b5" providerId="ADAL" clId="{6707C96A-2FD2-439C-9F78-3BE9477FF296}" dt="2026-03-30T22:07:59.925" v="260" actId="478"/>
          <ac:spMkLst>
            <pc:docMk/>
            <pc:sldMk cId="3273565483" sldId="2145708511"/>
            <ac:spMk id="58" creationId="{5C6E1392-A2B6-C3A7-8357-4DAEEC27681C}"/>
          </ac:spMkLst>
        </pc:spChg>
        <pc:spChg chg="del">
          <ac:chgData name="Muffoletto, Jamie" userId="daf1e3c6-8137-448a-b141-d23049d419b5" providerId="ADAL" clId="{6707C96A-2FD2-439C-9F78-3BE9477FF296}" dt="2026-03-30T22:07:59.925" v="260" actId="478"/>
          <ac:spMkLst>
            <pc:docMk/>
            <pc:sldMk cId="3273565483" sldId="2145708511"/>
            <ac:spMk id="59" creationId="{1AB8457B-5F92-988E-09A4-F19C39EB2AEA}"/>
          </ac:spMkLst>
        </pc:spChg>
        <pc:spChg chg="del">
          <ac:chgData name="Muffoletto, Jamie" userId="daf1e3c6-8137-448a-b141-d23049d419b5" providerId="ADAL" clId="{6707C96A-2FD2-439C-9F78-3BE9477FF296}" dt="2026-03-30T22:07:59.925" v="260" actId="478"/>
          <ac:spMkLst>
            <pc:docMk/>
            <pc:sldMk cId="3273565483" sldId="2145708511"/>
            <ac:spMk id="65" creationId="{FDF02F8D-E785-7BF9-DAC0-23955CE24E1A}"/>
          </ac:spMkLst>
        </pc:spChg>
        <pc:spChg chg="del">
          <ac:chgData name="Muffoletto, Jamie" userId="daf1e3c6-8137-448a-b141-d23049d419b5" providerId="ADAL" clId="{6707C96A-2FD2-439C-9F78-3BE9477FF296}" dt="2026-03-30T22:07:59.925" v="260" actId="478"/>
          <ac:spMkLst>
            <pc:docMk/>
            <pc:sldMk cId="3273565483" sldId="2145708511"/>
            <ac:spMk id="66" creationId="{C4115DA9-C190-0866-7094-27F83BBCCBA9}"/>
          </ac:spMkLst>
        </pc:spChg>
        <pc:spChg chg="del">
          <ac:chgData name="Muffoletto, Jamie" userId="daf1e3c6-8137-448a-b141-d23049d419b5" providerId="ADAL" clId="{6707C96A-2FD2-439C-9F78-3BE9477FF296}" dt="2026-03-30T22:07:59.925" v="260" actId="478"/>
          <ac:spMkLst>
            <pc:docMk/>
            <pc:sldMk cId="3273565483" sldId="2145708511"/>
            <ac:spMk id="67" creationId="{A440C8EE-4729-5385-1035-33B7774E23A7}"/>
          </ac:spMkLst>
        </pc:spChg>
        <pc:spChg chg="del">
          <ac:chgData name="Muffoletto, Jamie" userId="daf1e3c6-8137-448a-b141-d23049d419b5" providerId="ADAL" clId="{6707C96A-2FD2-439C-9F78-3BE9477FF296}" dt="2026-03-30T22:07:59.925" v="260" actId="478"/>
          <ac:spMkLst>
            <pc:docMk/>
            <pc:sldMk cId="3273565483" sldId="2145708511"/>
            <ac:spMk id="69" creationId="{AC67565B-EF41-81D1-7FE1-D3CE02116DDF}"/>
          </ac:spMkLst>
        </pc:spChg>
        <pc:spChg chg="del">
          <ac:chgData name="Muffoletto, Jamie" userId="daf1e3c6-8137-448a-b141-d23049d419b5" providerId="ADAL" clId="{6707C96A-2FD2-439C-9F78-3BE9477FF296}" dt="2026-03-30T22:07:59.925" v="260" actId="478"/>
          <ac:spMkLst>
            <pc:docMk/>
            <pc:sldMk cId="3273565483" sldId="2145708511"/>
            <ac:spMk id="71" creationId="{86D75720-E2A0-2745-7D79-17124F9DE2C4}"/>
          </ac:spMkLst>
        </pc:spChg>
        <pc:spChg chg="del">
          <ac:chgData name="Muffoletto, Jamie" userId="daf1e3c6-8137-448a-b141-d23049d419b5" providerId="ADAL" clId="{6707C96A-2FD2-439C-9F78-3BE9477FF296}" dt="2026-03-30T22:07:59.925" v="260" actId="478"/>
          <ac:spMkLst>
            <pc:docMk/>
            <pc:sldMk cId="3273565483" sldId="2145708511"/>
            <ac:spMk id="72" creationId="{41DF323E-885F-E7B9-0413-167345F1ACE6}"/>
          </ac:spMkLst>
        </pc:spChg>
        <pc:spChg chg="del">
          <ac:chgData name="Muffoletto, Jamie" userId="daf1e3c6-8137-448a-b141-d23049d419b5" providerId="ADAL" clId="{6707C96A-2FD2-439C-9F78-3BE9477FF296}" dt="2026-03-30T22:07:59.925" v="260" actId="478"/>
          <ac:spMkLst>
            <pc:docMk/>
            <pc:sldMk cId="3273565483" sldId="2145708511"/>
            <ac:spMk id="74" creationId="{06867D23-FA3A-3214-69A4-2884EED8185D}"/>
          </ac:spMkLst>
        </pc:spChg>
        <pc:picChg chg="add mod">
          <ac:chgData name="Muffoletto, Jamie" userId="daf1e3c6-8137-448a-b141-d23049d419b5" providerId="ADAL" clId="{6707C96A-2FD2-439C-9F78-3BE9477FF296}" dt="2026-03-30T22:08:45.805" v="399" actId="962"/>
          <ac:picMkLst>
            <pc:docMk/>
            <pc:sldMk cId="3273565483" sldId="2145708511"/>
            <ac:picMk id="6" creationId="{19A333BD-F7E0-1B79-2EBD-35AF8D25E264}"/>
          </ac:picMkLst>
        </pc:picChg>
      </pc:sldChg>
      <pc:sldChg chg="addSp delSp modSp mod">
        <pc:chgData name="Muffoletto, Jamie" userId="daf1e3c6-8137-448a-b141-d23049d419b5" providerId="ADAL" clId="{6707C96A-2FD2-439C-9F78-3BE9477FF296}" dt="2026-03-30T21:57:46.715" v="79" actId="962"/>
        <pc:sldMkLst>
          <pc:docMk/>
          <pc:sldMk cId="2192762680" sldId="2145708513"/>
        </pc:sldMkLst>
        <pc:spChg chg="del">
          <ac:chgData name="Muffoletto, Jamie" userId="daf1e3c6-8137-448a-b141-d23049d419b5" providerId="ADAL" clId="{6707C96A-2FD2-439C-9F78-3BE9477FF296}" dt="2026-03-30T21:57:04.464" v="16" actId="478"/>
          <ac:spMkLst>
            <pc:docMk/>
            <pc:sldMk cId="2192762680" sldId="2145708513"/>
            <ac:spMk id="3" creationId="{F90E5567-712A-699F-EDF4-7BD9204B9707}"/>
          </ac:spMkLst>
        </pc:spChg>
        <pc:spChg chg="del">
          <ac:chgData name="Muffoletto, Jamie" userId="daf1e3c6-8137-448a-b141-d23049d419b5" providerId="ADAL" clId="{6707C96A-2FD2-439C-9F78-3BE9477FF296}" dt="2026-03-30T21:57:04.464" v="16" actId="478"/>
          <ac:spMkLst>
            <pc:docMk/>
            <pc:sldMk cId="2192762680" sldId="2145708513"/>
            <ac:spMk id="12" creationId="{3177E390-1EE1-95B4-B99C-B01C8881FA0F}"/>
          </ac:spMkLst>
        </pc:spChg>
        <pc:spChg chg="add del mod">
          <ac:chgData name="Muffoletto, Jamie" userId="daf1e3c6-8137-448a-b141-d23049d419b5" providerId="ADAL" clId="{6707C96A-2FD2-439C-9F78-3BE9477FF296}" dt="2026-03-30T21:56:59.765" v="15" actId="478"/>
          <ac:spMkLst>
            <pc:docMk/>
            <pc:sldMk cId="2192762680" sldId="2145708513"/>
            <ac:spMk id="13" creationId="{370F6AA7-CA60-AB11-BBD7-6664A545E6CA}"/>
          </ac:spMkLst>
        </pc:spChg>
        <pc:spChg chg="del">
          <ac:chgData name="Muffoletto, Jamie" userId="daf1e3c6-8137-448a-b141-d23049d419b5" providerId="ADAL" clId="{6707C96A-2FD2-439C-9F78-3BE9477FF296}" dt="2026-03-30T21:57:04.464" v="16" actId="478"/>
          <ac:spMkLst>
            <pc:docMk/>
            <pc:sldMk cId="2192762680" sldId="2145708513"/>
            <ac:spMk id="23" creationId="{E21DA905-EF87-5BC2-522A-E2168BD25BA4}"/>
          </ac:spMkLst>
        </pc:spChg>
        <pc:spChg chg="del">
          <ac:chgData name="Muffoletto, Jamie" userId="daf1e3c6-8137-448a-b141-d23049d419b5" providerId="ADAL" clId="{6707C96A-2FD2-439C-9F78-3BE9477FF296}" dt="2026-03-30T21:57:04.464" v="16" actId="478"/>
          <ac:spMkLst>
            <pc:docMk/>
            <pc:sldMk cId="2192762680" sldId="2145708513"/>
            <ac:spMk id="27" creationId="{E92C9706-D2A9-AB03-D407-685EFA8686BB}"/>
          </ac:spMkLst>
        </pc:spChg>
        <pc:spChg chg="del">
          <ac:chgData name="Muffoletto, Jamie" userId="daf1e3c6-8137-448a-b141-d23049d419b5" providerId="ADAL" clId="{6707C96A-2FD2-439C-9F78-3BE9477FF296}" dt="2026-03-30T21:57:08.116" v="17" actId="478"/>
          <ac:spMkLst>
            <pc:docMk/>
            <pc:sldMk cId="2192762680" sldId="2145708513"/>
            <ac:spMk id="31" creationId="{A6FA13BE-D634-609A-AF4E-7893F0A7FABA}"/>
          </ac:spMkLst>
        </pc:spChg>
        <pc:spChg chg="del">
          <ac:chgData name="Muffoletto, Jamie" userId="daf1e3c6-8137-448a-b141-d23049d419b5" providerId="ADAL" clId="{6707C96A-2FD2-439C-9F78-3BE9477FF296}" dt="2026-03-30T21:57:04.464" v="16" actId="478"/>
          <ac:spMkLst>
            <pc:docMk/>
            <pc:sldMk cId="2192762680" sldId="2145708513"/>
            <ac:spMk id="39" creationId="{5F1C6B81-3075-3BD2-5E16-F076A8FE0103}"/>
          </ac:spMkLst>
        </pc:spChg>
        <pc:spChg chg="del">
          <ac:chgData name="Muffoletto, Jamie" userId="daf1e3c6-8137-448a-b141-d23049d419b5" providerId="ADAL" clId="{6707C96A-2FD2-439C-9F78-3BE9477FF296}" dt="2026-03-30T21:57:04.464" v="16" actId="478"/>
          <ac:spMkLst>
            <pc:docMk/>
            <pc:sldMk cId="2192762680" sldId="2145708513"/>
            <ac:spMk id="41" creationId="{6ED423B1-D619-0D37-A571-7F397FC9C8BD}"/>
          </ac:spMkLst>
        </pc:spChg>
        <pc:spChg chg="del">
          <ac:chgData name="Muffoletto, Jamie" userId="daf1e3c6-8137-448a-b141-d23049d419b5" providerId="ADAL" clId="{6707C96A-2FD2-439C-9F78-3BE9477FF296}" dt="2026-03-30T21:57:04.464" v="16" actId="478"/>
          <ac:spMkLst>
            <pc:docMk/>
            <pc:sldMk cId="2192762680" sldId="2145708513"/>
            <ac:spMk id="52" creationId="{28029ECD-D558-0CA7-632C-1BE10141A478}"/>
          </ac:spMkLst>
        </pc:spChg>
        <pc:spChg chg="del">
          <ac:chgData name="Muffoletto, Jamie" userId="daf1e3c6-8137-448a-b141-d23049d419b5" providerId="ADAL" clId="{6707C96A-2FD2-439C-9F78-3BE9477FF296}" dt="2026-03-30T21:57:10.360" v="18" actId="478"/>
          <ac:spMkLst>
            <pc:docMk/>
            <pc:sldMk cId="2192762680" sldId="2145708513"/>
            <ac:spMk id="71" creationId="{DDA91FC2-310B-1790-DEA8-9C347C760307}"/>
          </ac:spMkLst>
        </pc:spChg>
        <pc:spChg chg="del">
          <ac:chgData name="Muffoletto, Jamie" userId="daf1e3c6-8137-448a-b141-d23049d419b5" providerId="ADAL" clId="{6707C96A-2FD2-439C-9F78-3BE9477FF296}" dt="2026-03-30T21:57:04.464" v="16" actId="478"/>
          <ac:spMkLst>
            <pc:docMk/>
            <pc:sldMk cId="2192762680" sldId="2145708513"/>
            <ac:spMk id="72" creationId="{D45ACFD8-CFB5-0993-020E-276AEB09C72E}"/>
          </ac:spMkLst>
        </pc:spChg>
        <pc:spChg chg="del">
          <ac:chgData name="Muffoletto, Jamie" userId="daf1e3c6-8137-448a-b141-d23049d419b5" providerId="ADAL" clId="{6707C96A-2FD2-439C-9F78-3BE9477FF296}" dt="2026-03-30T21:57:04.464" v="16" actId="478"/>
          <ac:spMkLst>
            <pc:docMk/>
            <pc:sldMk cId="2192762680" sldId="2145708513"/>
            <ac:spMk id="73" creationId="{D2F2EA86-00D8-C11B-CD14-D541B0EE830B}"/>
          </ac:spMkLst>
        </pc:spChg>
        <pc:grpChg chg="del">
          <ac:chgData name="Muffoletto, Jamie" userId="daf1e3c6-8137-448a-b141-d23049d419b5" providerId="ADAL" clId="{6707C96A-2FD2-439C-9F78-3BE9477FF296}" dt="2026-03-30T21:57:04.464" v="16" actId="478"/>
          <ac:grpSpMkLst>
            <pc:docMk/>
            <pc:sldMk cId="2192762680" sldId="2145708513"/>
            <ac:grpSpMk id="44" creationId="{6CD870A1-3AA9-488D-EEFD-54FF5757EC4F}"/>
          </ac:grpSpMkLst>
        </pc:grpChg>
        <pc:grpChg chg="del">
          <ac:chgData name="Muffoletto, Jamie" userId="daf1e3c6-8137-448a-b141-d23049d419b5" providerId="ADAL" clId="{6707C96A-2FD2-439C-9F78-3BE9477FF296}" dt="2026-03-30T21:57:08.116" v="17" actId="478"/>
          <ac:grpSpMkLst>
            <pc:docMk/>
            <pc:sldMk cId="2192762680" sldId="2145708513"/>
            <ac:grpSpMk id="45" creationId="{11D1CE85-9131-9B61-A25B-3C9EBB59B9A8}"/>
          </ac:grpSpMkLst>
        </pc:grpChg>
        <pc:picChg chg="del mod">
          <ac:chgData name="Muffoletto, Jamie" userId="daf1e3c6-8137-448a-b141-d23049d419b5" providerId="ADAL" clId="{6707C96A-2FD2-439C-9F78-3BE9477FF296}" dt="2026-03-30T21:56:55.745" v="14" actId="478"/>
          <ac:picMkLst>
            <pc:docMk/>
            <pc:sldMk cId="2192762680" sldId="2145708513"/>
            <ac:picMk id="8" creationId="{7842A707-3F41-8565-2946-44E156364392}"/>
          </ac:picMkLst>
        </pc:picChg>
        <pc:picChg chg="del">
          <ac:chgData name="Muffoletto, Jamie" userId="daf1e3c6-8137-448a-b141-d23049d419b5" providerId="ADAL" clId="{6707C96A-2FD2-439C-9F78-3BE9477FF296}" dt="2026-03-30T21:57:11.347" v="19" actId="478"/>
          <ac:picMkLst>
            <pc:docMk/>
            <pc:sldMk cId="2192762680" sldId="2145708513"/>
            <ac:picMk id="10" creationId="{6AFE7285-4AF2-222C-20BB-4CD8CB08E282}"/>
          </ac:picMkLst>
        </pc:picChg>
        <pc:picChg chg="add mod">
          <ac:chgData name="Muffoletto, Jamie" userId="daf1e3c6-8137-448a-b141-d23049d419b5" providerId="ADAL" clId="{6707C96A-2FD2-439C-9F78-3BE9477FF296}" dt="2026-03-30T21:57:46.715" v="79" actId="962"/>
          <ac:picMkLst>
            <pc:docMk/>
            <pc:sldMk cId="2192762680" sldId="2145708513"/>
            <ac:picMk id="17" creationId="{3C098E51-5A93-9F63-B41F-D340E5DE8E9A}"/>
          </ac:picMkLst>
        </pc:picChg>
      </pc:sldChg>
      <pc:sldChg chg="modSp mod">
        <pc:chgData name="Muffoletto, Jamie" userId="daf1e3c6-8137-448a-b141-d23049d419b5" providerId="ADAL" clId="{6707C96A-2FD2-439C-9F78-3BE9477FF296}" dt="2026-03-30T22:13:21.182" v="472" actId="962"/>
        <pc:sldMkLst>
          <pc:docMk/>
          <pc:sldMk cId="2356273741" sldId="2145708519"/>
        </pc:sldMkLst>
        <pc:spChg chg="ord">
          <ac:chgData name="Muffoletto, Jamie" userId="daf1e3c6-8137-448a-b141-d23049d419b5" providerId="ADAL" clId="{6707C96A-2FD2-439C-9F78-3BE9477FF296}" dt="2026-03-30T21:55:34.625" v="9" actId="13244"/>
          <ac:spMkLst>
            <pc:docMk/>
            <pc:sldMk cId="2356273741" sldId="2145708519"/>
            <ac:spMk id="4" creationId="{30A5E209-AB9C-BD41-B592-AACAF9A61C11}"/>
          </ac:spMkLst>
        </pc:spChg>
        <pc:spChg chg="ord">
          <ac:chgData name="Muffoletto, Jamie" userId="daf1e3c6-8137-448a-b141-d23049d419b5" providerId="ADAL" clId="{6707C96A-2FD2-439C-9F78-3BE9477FF296}" dt="2026-03-30T21:55:29.828" v="8" actId="13244"/>
          <ac:spMkLst>
            <pc:docMk/>
            <pc:sldMk cId="2356273741" sldId="2145708519"/>
            <ac:spMk id="13" creationId="{00042BB3-9799-E58E-AEA2-E4AB57BD30A2}"/>
          </ac:spMkLst>
        </pc:spChg>
        <pc:grpChg chg="mod">
          <ac:chgData name="Muffoletto, Jamie" userId="daf1e3c6-8137-448a-b141-d23049d419b5" providerId="ADAL" clId="{6707C96A-2FD2-439C-9F78-3BE9477FF296}" dt="2026-03-30T22:13:18.541" v="470" actId="962"/>
          <ac:grpSpMkLst>
            <pc:docMk/>
            <pc:sldMk cId="2356273741" sldId="2145708519"/>
            <ac:grpSpMk id="5" creationId="{81C1B3B9-4545-C188-68E5-CF28268BA179}"/>
          </ac:grpSpMkLst>
        </pc:grpChg>
        <pc:grpChg chg="mod">
          <ac:chgData name="Muffoletto, Jamie" userId="daf1e3c6-8137-448a-b141-d23049d419b5" providerId="ADAL" clId="{6707C96A-2FD2-439C-9F78-3BE9477FF296}" dt="2026-03-30T22:13:20.125" v="471" actId="962"/>
          <ac:grpSpMkLst>
            <pc:docMk/>
            <pc:sldMk cId="2356273741" sldId="2145708519"/>
            <ac:grpSpMk id="9" creationId="{BB73F35A-DDA5-72CF-00A7-39F0DB724023}"/>
          </ac:grpSpMkLst>
        </pc:grpChg>
        <pc:picChg chg="mod ord">
          <ac:chgData name="Muffoletto, Jamie" userId="daf1e3c6-8137-448a-b141-d23049d419b5" providerId="ADAL" clId="{6707C96A-2FD2-439C-9F78-3BE9477FF296}" dt="2026-03-30T22:13:21.182" v="472" actId="962"/>
          <ac:picMkLst>
            <pc:docMk/>
            <pc:sldMk cId="2356273741" sldId="2145708519"/>
            <ac:picMk id="8" creationId="{74E34BF7-5F9B-F152-7D4C-E75389E49148}"/>
          </ac:picMkLst>
        </pc:picChg>
      </pc:sldChg>
      <pc:sldChg chg="modSp">
        <pc:chgData name="Muffoletto, Jamie" userId="daf1e3c6-8137-448a-b141-d23049d419b5" providerId="ADAL" clId="{6707C96A-2FD2-439C-9F78-3BE9477FF296}" dt="2026-03-30T22:13:24.379" v="473" actId="962"/>
        <pc:sldMkLst>
          <pc:docMk/>
          <pc:sldMk cId="4109388246" sldId="2147480913"/>
        </pc:sldMkLst>
        <pc:graphicFrameChg chg="mod">
          <ac:chgData name="Muffoletto, Jamie" userId="daf1e3c6-8137-448a-b141-d23049d419b5" providerId="ADAL" clId="{6707C96A-2FD2-439C-9F78-3BE9477FF296}" dt="2026-03-30T22:13:24.379" v="473" actId="962"/>
          <ac:graphicFrameMkLst>
            <pc:docMk/>
            <pc:sldMk cId="4109388246" sldId="2147480913"/>
            <ac:graphicFrameMk id="6" creationId="{0CF2CDCD-B55A-3A4B-9923-B76451DE7204}"/>
          </ac:graphicFrameMkLst>
        </pc:graphicFrameChg>
      </pc:sldChg>
      <pc:sldChg chg="addSp delSp modSp mod">
        <pc:chgData name="Muffoletto, Jamie" userId="daf1e3c6-8137-448a-b141-d23049d419b5" providerId="ADAL" clId="{6707C96A-2FD2-439C-9F78-3BE9477FF296}" dt="2026-03-30T22:05:33.341" v="138" actId="962"/>
        <pc:sldMkLst>
          <pc:docMk/>
          <pc:sldMk cId="2679728684" sldId="2147480934"/>
        </pc:sldMkLst>
        <pc:spChg chg="ord">
          <ac:chgData name="Muffoletto, Jamie" userId="daf1e3c6-8137-448a-b141-d23049d419b5" providerId="ADAL" clId="{6707C96A-2FD2-439C-9F78-3BE9477FF296}" dt="2026-03-30T22:05:08.626" v="90" actId="13244"/>
          <ac:spMkLst>
            <pc:docMk/>
            <pc:sldMk cId="2679728684" sldId="2147480934"/>
            <ac:spMk id="4" creationId="{0A03FFD2-D81A-04F4-07CE-201EEC8DC74C}"/>
          </ac:spMkLst>
        </pc:spChg>
        <pc:spChg chg="del">
          <ac:chgData name="Muffoletto, Jamie" userId="daf1e3c6-8137-448a-b141-d23049d419b5" providerId="ADAL" clId="{6707C96A-2FD2-439C-9F78-3BE9477FF296}" dt="2026-03-30T21:58:44.673" v="82" actId="478"/>
          <ac:spMkLst>
            <pc:docMk/>
            <pc:sldMk cId="2679728684" sldId="2147480934"/>
            <ac:spMk id="16" creationId="{449DED8B-EDD8-36FD-6E40-DFAA4127550C}"/>
          </ac:spMkLst>
        </pc:spChg>
        <pc:spChg chg="del">
          <ac:chgData name="Muffoletto, Jamie" userId="daf1e3c6-8137-448a-b141-d23049d419b5" providerId="ADAL" clId="{6707C96A-2FD2-439C-9F78-3BE9477FF296}" dt="2026-03-30T21:58:36.217" v="80" actId="478"/>
          <ac:spMkLst>
            <pc:docMk/>
            <pc:sldMk cId="2679728684" sldId="2147480934"/>
            <ac:spMk id="44" creationId="{7330F722-689F-958D-A402-041B20310CF3}"/>
          </ac:spMkLst>
        </pc:spChg>
        <pc:spChg chg="del">
          <ac:chgData name="Muffoletto, Jamie" userId="daf1e3c6-8137-448a-b141-d23049d419b5" providerId="ADAL" clId="{6707C96A-2FD2-439C-9F78-3BE9477FF296}" dt="2026-03-30T21:58:36.217" v="80" actId="478"/>
          <ac:spMkLst>
            <pc:docMk/>
            <pc:sldMk cId="2679728684" sldId="2147480934"/>
            <ac:spMk id="51" creationId="{350C8061-6CB2-B5E7-6515-361BB3EC96D9}"/>
          </ac:spMkLst>
        </pc:spChg>
        <pc:spChg chg="del">
          <ac:chgData name="Muffoletto, Jamie" userId="daf1e3c6-8137-448a-b141-d23049d419b5" providerId="ADAL" clId="{6707C96A-2FD2-439C-9F78-3BE9477FF296}" dt="2026-03-30T21:58:36.217" v="80" actId="478"/>
          <ac:spMkLst>
            <pc:docMk/>
            <pc:sldMk cId="2679728684" sldId="2147480934"/>
            <ac:spMk id="56" creationId="{C53E1C32-987B-8416-67ED-29700938DFA6}"/>
          </ac:spMkLst>
        </pc:spChg>
        <pc:spChg chg="del">
          <ac:chgData name="Muffoletto, Jamie" userId="daf1e3c6-8137-448a-b141-d23049d419b5" providerId="ADAL" clId="{6707C96A-2FD2-439C-9F78-3BE9477FF296}" dt="2026-03-30T21:58:36.217" v="80" actId="478"/>
          <ac:spMkLst>
            <pc:docMk/>
            <pc:sldMk cId="2679728684" sldId="2147480934"/>
            <ac:spMk id="62" creationId="{79E81AF8-1597-802C-47F0-B953677C403F}"/>
          </ac:spMkLst>
        </pc:spChg>
        <pc:spChg chg="del">
          <ac:chgData name="Muffoletto, Jamie" userId="daf1e3c6-8137-448a-b141-d23049d419b5" providerId="ADAL" clId="{6707C96A-2FD2-439C-9F78-3BE9477FF296}" dt="2026-03-30T21:58:36.217" v="80" actId="478"/>
          <ac:spMkLst>
            <pc:docMk/>
            <pc:sldMk cId="2679728684" sldId="2147480934"/>
            <ac:spMk id="68" creationId="{07B78BFC-C19C-C2D5-83F4-7054552AF2F2}"/>
          </ac:spMkLst>
        </pc:spChg>
        <pc:spChg chg="del">
          <ac:chgData name="Muffoletto, Jamie" userId="daf1e3c6-8137-448a-b141-d23049d419b5" providerId="ADAL" clId="{6707C96A-2FD2-439C-9F78-3BE9477FF296}" dt="2026-03-30T21:58:50.577" v="84" actId="478"/>
          <ac:spMkLst>
            <pc:docMk/>
            <pc:sldMk cId="2679728684" sldId="2147480934"/>
            <ac:spMk id="79" creationId="{226DCED3-C452-2C70-5D03-663CE3C93652}"/>
          </ac:spMkLst>
        </pc:spChg>
        <pc:spChg chg="del">
          <ac:chgData name="Muffoletto, Jamie" userId="daf1e3c6-8137-448a-b141-d23049d419b5" providerId="ADAL" clId="{6707C96A-2FD2-439C-9F78-3BE9477FF296}" dt="2026-03-30T21:58:36.217" v="80" actId="478"/>
          <ac:spMkLst>
            <pc:docMk/>
            <pc:sldMk cId="2679728684" sldId="2147480934"/>
            <ac:spMk id="83" creationId="{9A4D7786-2FFD-8751-4B42-0E3205107773}"/>
          </ac:spMkLst>
        </pc:spChg>
        <pc:spChg chg="del">
          <ac:chgData name="Muffoletto, Jamie" userId="daf1e3c6-8137-448a-b141-d23049d419b5" providerId="ADAL" clId="{6707C96A-2FD2-439C-9F78-3BE9477FF296}" dt="2026-03-30T21:58:36.217" v="80" actId="478"/>
          <ac:spMkLst>
            <pc:docMk/>
            <pc:sldMk cId="2679728684" sldId="2147480934"/>
            <ac:spMk id="84" creationId="{D0519D7C-670F-819D-91DC-B2FBF68CD695}"/>
          </ac:spMkLst>
        </pc:spChg>
        <pc:spChg chg="del">
          <ac:chgData name="Muffoletto, Jamie" userId="daf1e3c6-8137-448a-b141-d23049d419b5" providerId="ADAL" clId="{6707C96A-2FD2-439C-9F78-3BE9477FF296}" dt="2026-03-30T21:58:40.814" v="81" actId="478"/>
          <ac:spMkLst>
            <pc:docMk/>
            <pc:sldMk cId="2679728684" sldId="2147480934"/>
            <ac:spMk id="85" creationId="{F15A3F26-6AF1-23A8-754E-85C078663721}"/>
          </ac:spMkLst>
        </pc:spChg>
        <pc:grpChg chg="del">
          <ac:chgData name="Muffoletto, Jamie" userId="daf1e3c6-8137-448a-b141-d23049d419b5" providerId="ADAL" clId="{6707C96A-2FD2-439C-9F78-3BE9477FF296}" dt="2026-03-30T21:58:36.217" v="80" actId="478"/>
          <ac:grpSpMkLst>
            <pc:docMk/>
            <pc:sldMk cId="2679728684" sldId="2147480934"/>
            <ac:grpSpMk id="45" creationId="{9FA6A0BE-9DE8-3A51-A76E-D06FD46F3BDE}"/>
          </ac:grpSpMkLst>
        </pc:grpChg>
        <pc:grpChg chg="del">
          <ac:chgData name="Muffoletto, Jamie" userId="daf1e3c6-8137-448a-b141-d23049d419b5" providerId="ADAL" clId="{6707C96A-2FD2-439C-9F78-3BE9477FF296}" dt="2026-03-30T21:58:36.217" v="80" actId="478"/>
          <ac:grpSpMkLst>
            <pc:docMk/>
            <pc:sldMk cId="2679728684" sldId="2147480934"/>
            <ac:grpSpMk id="53" creationId="{EEC1E96E-F7B2-CE28-7D44-4DCC3D03181C}"/>
          </ac:grpSpMkLst>
        </pc:grpChg>
        <pc:grpChg chg="del">
          <ac:chgData name="Muffoletto, Jamie" userId="daf1e3c6-8137-448a-b141-d23049d419b5" providerId="ADAL" clId="{6707C96A-2FD2-439C-9F78-3BE9477FF296}" dt="2026-03-30T21:58:36.217" v="80" actId="478"/>
          <ac:grpSpMkLst>
            <pc:docMk/>
            <pc:sldMk cId="2679728684" sldId="2147480934"/>
            <ac:grpSpMk id="58" creationId="{910A574B-1259-6FD7-4462-7946F89B77A2}"/>
          </ac:grpSpMkLst>
        </pc:grpChg>
        <pc:picChg chg="del">
          <ac:chgData name="Muffoletto, Jamie" userId="daf1e3c6-8137-448a-b141-d23049d419b5" providerId="ADAL" clId="{6707C96A-2FD2-439C-9F78-3BE9477FF296}" dt="2026-03-30T21:58:47.132" v="83" actId="478"/>
          <ac:picMkLst>
            <pc:docMk/>
            <pc:sldMk cId="2679728684" sldId="2147480934"/>
            <ac:picMk id="5" creationId="{60003C46-0910-669D-2B22-2EF8CB820637}"/>
          </ac:picMkLst>
        </pc:picChg>
        <pc:picChg chg="add mod">
          <ac:chgData name="Muffoletto, Jamie" userId="daf1e3c6-8137-448a-b141-d23049d419b5" providerId="ADAL" clId="{6707C96A-2FD2-439C-9F78-3BE9477FF296}" dt="2026-03-30T22:05:33.341" v="138" actId="962"/>
          <ac:picMkLst>
            <pc:docMk/>
            <pc:sldMk cId="2679728684" sldId="2147480934"/>
            <ac:picMk id="6" creationId="{99E02120-A61E-06DF-DF15-A7C0DFFDDA6F}"/>
          </ac:picMkLst>
        </pc:picChg>
        <pc:picChg chg="del mod">
          <ac:chgData name="Muffoletto, Jamie" userId="daf1e3c6-8137-448a-b141-d23049d419b5" providerId="ADAL" clId="{6707C96A-2FD2-439C-9F78-3BE9477FF296}" dt="2026-03-30T21:58:53.633" v="86" actId="478"/>
          <ac:picMkLst>
            <pc:docMk/>
            <pc:sldMk cId="2679728684" sldId="2147480934"/>
            <ac:picMk id="82" creationId="{D22A35CA-2C84-C30C-A363-10FB987062CB}"/>
          </ac:picMkLst>
        </pc:picChg>
      </pc:sldChg>
      <pc:sldChg chg="modSp mod">
        <pc:chgData name="Muffoletto, Jamie" userId="daf1e3c6-8137-448a-b141-d23049d419b5" providerId="ADAL" clId="{6707C96A-2FD2-439C-9F78-3BE9477FF296}" dt="2026-03-30T21:55:17.341" v="7" actId="13244"/>
        <pc:sldMkLst>
          <pc:docMk/>
          <pc:sldMk cId="1978821507" sldId="2147480935"/>
        </pc:sldMkLst>
        <pc:spChg chg="ord">
          <ac:chgData name="Muffoletto, Jamie" userId="daf1e3c6-8137-448a-b141-d23049d419b5" providerId="ADAL" clId="{6707C96A-2FD2-439C-9F78-3BE9477FF296}" dt="2026-03-30T21:54:53.206" v="5" actId="13244"/>
          <ac:spMkLst>
            <pc:docMk/>
            <pc:sldMk cId="1978821507" sldId="2147480935"/>
            <ac:spMk id="4" creationId="{A9664A76-17AC-393E-D09A-A67FED57CF33}"/>
          </ac:spMkLst>
        </pc:spChg>
        <pc:spChg chg="ord">
          <ac:chgData name="Muffoletto, Jamie" userId="daf1e3c6-8137-448a-b141-d23049d419b5" providerId="ADAL" clId="{6707C96A-2FD2-439C-9F78-3BE9477FF296}" dt="2026-03-30T21:55:03.487" v="6" actId="13244"/>
          <ac:spMkLst>
            <pc:docMk/>
            <pc:sldMk cId="1978821507" sldId="2147480935"/>
            <ac:spMk id="16" creationId="{C2EAEC96-FD96-331F-B424-A0D2AFA76BB8}"/>
          </ac:spMkLst>
        </pc:spChg>
        <pc:picChg chg="ord">
          <ac:chgData name="Muffoletto, Jamie" userId="daf1e3c6-8137-448a-b141-d23049d419b5" providerId="ADAL" clId="{6707C96A-2FD2-439C-9F78-3BE9477FF296}" dt="2026-03-30T21:55:17.341" v="7" actId="13244"/>
          <ac:picMkLst>
            <pc:docMk/>
            <pc:sldMk cId="1978821507" sldId="2147480935"/>
            <ac:picMk id="11" creationId="{8C6A0FAF-91BD-5243-9CE5-E21DDE137EDE}"/>
          </ac:picMkLst>
        </pc:picChg>
      </pc:sldChg>
      <pc:sldChg chg="modSp mod">
        <pc:chgData name="Muffoletto, Jamie" userId="daf1e3c6-8137-448a-b141-d23049d419b5" providerId="ADAL" clId="{6707C96A-2FD2-439C-9F78-3BE9477FF296}" dt="2026-03-30T22:09:50.635" v="401" actId="13244"/>
        <pc:sldMkLst>
          <pc:docMk/>
          <pc:sldMk cId="3008791374" sldId="2147480936"/>
        </pc:sldMkLst>
        <pc:spChg chg="ord">
          <ac:chgData name="Muffoletto, Jamie" userId="daf1e3c6-8137-448a-b141-d23049d419b5" providerId="ADAL" clId="{6707C96A-2FD2-439C-9F78-3BE9477FF296}" dt="2026-03-30T22:09:35.261" v="400" actId="13244"/>
          <ac:spMkLst>
            <pc:docMk/>
            <pc:sldMk cId="3008791374" sldId="2147480936"/>
            <ac:spMk id="4" creationId="{F775BA3A-FF99-A3EE-93DF-E31694A5EEBC}"/>
          </ac:spMkLst>
        </pc:spChg>
        <pc:picChg chg="ord">
          <ac:chgData name="Muffoletto, Jamie" userId="daf1e3c6-8137-448a-b141-d23049d419b5" providerId="ADAL" clId="{6707C96A-2FD2-439C-9F78-3BE9477FF296}" dt="2026-03-30T22:09:50.635" v="401" actId="13244"/>
          <ac:picMkLst>
            <pc:docMk/>
            <pc:sldMk cId="3008791374" sldId="2147480936"/>
            <ac:picMk id="10" creationId="{3DAC5ABE-9770-ECBF-D9B2-551743ABAE36}"/>
          </ac:picMkLst>
        </pc:picChg>
      </pc:sldChg>
      <pc:sldChg chg="modSp mod">
        <pc:chgData name="Muffoletto, Jamie" userId="daf1e3c6-8137-448a-b141-d23049d419b5" providerId="ADAL" clId="{6707C96A-2FD2-439C-9F78-3BE9477FF296}" dt="2026-03-30T22:10:10.833" v="403" actId="13244"/>
        <pc:sldMkLst>
          <pc:docMk/>
          <pc:sldMk cId="3100008009" sldId="2147480939"/>
        </pc:sldMkLst>
        <pc:spChg chg="ord">
          <ac:chgData name="Muffoletto, Jamie" userId="daf1e3c6-8137-448a-b141-d23049d419b5" providerId="ADAL" clId="{6707C96A-2FD2-439C-9F78-3BE9477FF296}" dt="2026-03-30T22:10:10.833" v="403" actId="13244"/>
          <ac:spMkLst>
            <pc:docMk/>
            <pc:sldMk cId="3100008009" sldId="2147480939"/>
            <ac:spMk id="3" creationId="{02D181A2-9118-17BA-C503-4107C57D4921}"/>
          </ac:spMkLst>
        </pc:spChg>
        <pc:spChg chg="ord">
          <ac:chgData name="Muffoletto, Jamie" userId="daf1e3c6-8137-448a-b141-d23049d419b5" providerId="ADAL" clId="{6707C96A-2FD2-439C-9F78-3BE9477FF296}" dt="2026-03-30T22:10:07.573" v="402" actId="13244"/>
          <ac:spMkLst>
            <pc:docMk/>
            <pc:sldMk cId="3100008009" sldId="2147480939"/>
            <ac:spMk id="4" creationId="{B511FD3B-7B11-A25C-4288-F0977E361C08}"/>
          </ac:spMkLst>
        </pc:spChg>
      </pc:sldChg>
      <pc:sldChg chg="modSp mod">
        <pc:chgData name="Muffoletto, Jamie" userId="daf1e3c6-8137-448a-b141-d23049d419b5" providerId="ADAL" clId="{6707C96A-2FD2-439C-9F78-3BE9477FF296}" dt="2026-03-30T22:10:43.149" v="404" actId="13244"/>
        <pc:sldMkLst>
          <pc:docMk/>
          <pc:sldMk cId="1158984315" sldId="2147480940"/>
        </pc:sldMkLst>
        <pc:spChg chg="ord">
          <ac:chgData name="Muffoletto, Jamie" userId="daf1e3c6-8137-448a-b141-d23049d419b5" providerId="ADAL" clId="{6707C96A-2FD2-439C-9F78-3BE9477FF296}" dt="2026-03-30T22:10:43.149" v="404" actId="13244"/>
          <ac:spMkLst>
            <pc:docMk/>
            <pc:sldMk cId="1158984315" sldId="2147480940"/>
            <ac:spMk id="4" creationId="{D9F1ADA2-8640-5466-2817-3575EEE3DCD1}"/>
          </ac:spMkLst>
        </pc:spChg>
      </pc:sldChg>
      <pc:sldChg chg="modSp mod">
        <pc:chgData name="Muffoletto, Jamie" userId="daf1e3c6-8137-448a-b141-d23049d419b5" providerId="ADAL" clId="{6707C96A-2FD2-439C-9F78-3BE9477FF296}" dt="2026-03-30T21:55:55.434" v="12" actId="13244"/>
        <pc:sldMkLst>
          <pc:docMk/>
          <pc:sldMk cId="3309850936" sldId="2147480951"/>
        </pc:sldMkLst>
        <pc:spChg chg="ord">
          <ac:chgData name="Muffoletto, Jamie" userId="daf1e3c6-8137-448a-b141-d23049d419b5" providerId="ADAL" clId="{6707C96A-2FD2-439C-9F78-3BE9477FF296}" dt="2026-03-30T21:55:55.434" v="12" actId="13244"/>
          <ac:spMkLst>
            <pc:docMk/>
            <pc:sldMk cId="3309850936" sldId="2147480951"/>
            <ac:spMk id="3" creationId="{028E898D-11E0-55FE-1EF3-D4B7BB1B9897}"/>
          </ac:spMkLst>
        </pc:spChg>
        <pc:spChg chg="ord">
          <ac:chgData name="Muffoletto, Jamie" userId="daf1e3c6-8137-448a-b141-d23049d419b5" providerId="ADAL" clId="{6707C96A-2FD2-439C-9F78-3BE9477FF296}" dt="2026-03-30T21:55:53.745" v="11" actId="13244"/>
          <ac:spMkLst>
            <pc:docMk/>
            <pc:sldMk cId="3309850936" sldId="2147480951"/>
            <ac:spMk id="4" creationId="{0646D834-0CD4-1B24-17ED-9E06DAA3BC11}"/>
          </ac:spMkLst>
        </pc:spChg>
      </pc:sldChg>
    </pc:docChg>
  </pc:docChgLst>
</pc:chgInfo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svg"/><Relationship Id="rId2" Type="http://schemas.openxmlformats.org/officeDocument/2006/relationships/hyperlink" Target="mailto:research@tea.texas.gov" TargetMode="External"/><Relationship Id="rId1" Type="http://schemas.openxmlformats.org/officeDocument/2006/relationships/hyperlink" Target="mailto:DataComplaints@tea.texas.gov" TargetMode="External"/><Relationship Id="rId4" Type="http://schemas.openxmlformats.org/officeDocument/2006/relationships/image" Target="../media/image38.svg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hyperlink" Target="mailto:DataComplaints@tea.texas.gov" TargetMode="External"/><Relationship Id="rId1" Type="http://schemas.openxmlformats.org/officeDocument/2006/relationships/image" Target="../media/image37.svg"/><Relationship Id="rId4" Type="http://schemas.openxmlformats.org/officeDocument/2006/relationships/hyperlink" Target="mailto:research@tea.texas.gov" TargetMode="Externa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5">
  <dgm:title val=""/>
  <dgm:desc val=""/>
  <dgm:catLst>
    <dgm:cat type="accent1" pri="11500"/>
  </dgm:catLst>
  <dgm:styleLbl name="node0">
    <dgm:fillClrLst meth="cycle"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1">
        <a:alpha val="90000"/>
      </a:schemeClr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alpha val="90000"/>
      </a:schemeClr>
      <a:schemeClr val="accent1">
        <a:alpha val="5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/>
    <dgm:txEffectClrLst/>
  </dgm:styleLbl>
  <dgm:styleLbl name="lnNode1">
    <dgm:fillClrLst>
      <a:schemeClr val="accent1">
        <a:shade val="90000"/>
      </a:schemeClr>
      <a:schemeClr val="accent1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  <a:alpha val="90000"/>
      </a:schemeClr>
      <a:schemeClr val="accent1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1">
        <a:alpha val="90000"/>
        <a:tint val="40000"/>
      </a:schemeClr>
      <a:schemeClr val="accent1">
        <a:alpha val="5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03CD983-F92A-4051-A926-A66E49BDD260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5" csCatId="accent1" phldr="1"/>
      <dgm:spPr/>
      <dgm:t>
        <a:bodyPr/>
        <a:lstStyle/>
        <a:p>
          <a:endParaRPr lang="en-US"/>
        </a:p>
      </dgm:t>
    </dgm:pt>
    <dgm:pt modelId="{01DC5B44-97CE-4D70-81DC-C40C05178B32}">
      <dgm:prSet phldrT="[Text]" phldr="0"/>
      <dgm:spPr/>
      <dgm:t>
        <a:bodyPr/>
        <a:lstStyle/>
        <a:p>
          <a:r>
            <a:rPr lang="en-US"/>
            <a:t>SRDU Overview</a:t>
          </a:r>
        </a:p>
      </dgm:t>
    </dgm:pt>
    <dgm:pt modelId="{A1FBC795-C850-47E6-A503-DF7973CE0B28}" type="parTrans" cxnId="{231FE004-B107-4BEB-837A-51B081A456BF}">
      <dgm:prSet/>
      <dgm:spPr/>
      <dgm:t>
        <a:bodyPr/>
        <a:lstStyle/>
        <a:p>
          <a:endParaRPr lang="en-US"/>
        </a:p>
      </dgm:t>
    </dgm:pt>
    <dgm:pt modelId="{6714DA7D-71AE-41E5-9483-777EB4358F6D}" type="sibTrans" cxnId="{231FE004-B107-4BEB-837A-51B081A456BF}">
      <dgm:prSet/>
      <dgm:spPr/>
      <dgm:t>
        <a:bodyPr/>
        <a:lstStyle/>
        <a:p>
          <a:endParaRPr lang="en-US"/>
        </a:p>
      </dgm:t>
    </dgm:pt>
    <dgm:pt modelId="{14786AA3-8DAC-4CE1-B90A-8BC49C45159B}">
      <dgm:prSet phldrT="[Text]" phldr="0"/>
      <dgm:spPr/>
      <dgm:t>
        <a:bodyPr/>
        <a:lstStyle/>
        <a:p>
          <a:r>
            <a:rPr lang="en-US"/>
            <a:t>Leaver Reporting Requirements</a:t>
          </a:r>
        </a:p>
      </dgm:t>
    </dgm:pt>
    <dgm:pt modelId="{82AD8B87-5B9A-4360-A61B-34DE3167EB01}" type="parTrans" cxnId="{A32C5409-701A-4ABB-9F69-1A18C9CB5EF9}">
      <dgm:prSet/>
      <dgm:spPr/>
      <dgm:t>
        <a:bodyPr/>
        <a:lstStyle/>
        <a:p>
          <a:endParaRPr lang="en-US"/>
        </a:p>
      </dgm:t>
    </dgm:pt>
    <dgm:pt modelId="{8673F73A-D02B-4302-9AA1-2B0A1EB37EF5}" type="sibTrans" cxnId="{A32C5409-701A-4ABB-9F69-1A18C9CB5EF9}">
      <dgm:prSet/>
      <dgm:spPr/>
      <dgm:t>
        <a:bodyPr/>
        <a:lstStyle/>
        <a:p>
          <a:endParaRPr lang="en-US"/>
        </a:p>
      </dgm:t>
    </dgm:pt>
    <dgm:pt modelId="{727C0180-278B-4AB9-9420-FE980FA9ED8C}">
      <dgm:prSet phldrT="[Text]" phldr="0"/>
      <dgm:spPr/>
      <dgm:t>
        <a:bodyPr/>
        <a:lstStyle/>
        <a:p>
          <a:r>
            <a:rPr lang="en-US"/>
            <a:t>Compliance Review Findings</a:t>
          </a:r>
        </a:p>
      </dgm:t>
    </dgm:pt>
    <dgm:pt modelId="{8AC8B563-DE7E-4AB6-B230-D673928349AA}" type="parTrans" cxnId="{CF5E2B17-F950-4EB4-A690-6CDDA07DE499}">
      <dgm:prSet/>
      <dgm:spPr/>
      <dgm:t>
        <a:bodyPr/>
        <a:lstStyle/>
        <a:p>
          <a:endParaRPr lang="en-US"/>
        </a:p>
      </dgm:t>
    </dgm:pt>
    <dgm:pt modelId="{6E11A9E1-0F30-495E-84DB-0F57196B3146}" type="sibTrans" cxnId="{CF5E2B17-F950-4EB4-A690-6CDDA07DE499}">
      <dgm:prSet/>
      <dgm:spPr/>
      <dgm:t>
        <a:bodyPr/>
        <a:lstStyle/>
        <a:p>
          <a:endParaRPr lang="en-US"/>
        </a:p>
      </dgm:t>
    </dgm:pt>
    <dgm:pt modelId="{550BB809-BBD9-4F40-AD10-12224C769336}">
      <dgm:prSet/>
      <dgm:spPr/>
      <dgm:t>
        <a:bodyPr/>
        <a:lstStyle/>
        <a:p>
          <a:r>
            <a:rPr lang="en-US"/>
            <a:t>Leaver Reporting Processing Change</a:t>
          </a:r>
        </a:p>
      </dgm:t>
    </dgm:pt>
    <dgm:pt modelId="{70361DFC-871E-41A9-BAE2-21BD0880E4EC}" type="parTrans" cxnId="{1094AD28-E09A-448A-A357-D1087206880E}">
      <dgm:prSet/>
      <dgm:spPr/>
      <dgm:t>
        <a:bodyPr/>
        <a:lstStyle/>
        <a:p>
          <a:endParaRPr lang="en-US"/>
        </a:p>
      </dgm:t>
    </dgm:pt>
    <dgm:pt modelId="{0DBEBE6F-04E6-4DDD-9AFF-5CDA4760159B}" type="sibTrans" cxnId="{1094AD28-E09A-448A-A357-D1087206880E}">
      <dgm:prSet/>
      <dgm:spPr/>
      <dgm:t>
        <a:bodyPr/>
        <a:lstStyle/>
        <a:p>
          <a:endParaRPr lang="en-US"/>
        </a:p>
      </dgm:t>
    </dgm:pt>
    <dgm:pt modelId="{7D2860BA-DE61-4236-8154-44CAA7CA0B87}">
      <dgm:prSet/>
      <dgm:spPr/>
      <dgm:t>
        <a:bodyPr/>
        <a:lstStyle/>
        <a:p>
          <a:r>
            <a:rPr lang="en-US"/>
            <a:t>Recommended Local Actions</a:t>
          </a:r>
        </a:p>
      </dgm:t>
    </dgm:pt>
    <dgm:pt modelId="{98150439-D8E0-44E0-B5F6-D094B51A6B5E}" type="parTrans" cxnId="{95A80D86-AE90-4DA8-9F34-575935E4A57F}">
      <dgm:prSet/>
      <dgm:spPr/>
      <dgm:t>
        <a:bodyPr/>
        <a:lstStyle/>
        <a:p>
          <a:endParaRPr lang="en-US"/>
        </a:p>
      </dgm:t>
    </dgm:pt>
    <dgm:pt modelId="{C01BA978-970A-4B69-BA9A-0C59E123B874}" type="sibTrans" cxnId="{95A80D86-AE90-4DA8-9F34-575935E4A57F}">
      <dgm:prSet/>
      <dgm:spPr/>
      <dgm:t>
        <a:bodyPr/>
        <a:lstStyle/>
        <a:p>
          <a:endParaRPr lang="en-US"/>
        </a:p>
      </dgm:t>
    </dgm:pt>
    <dgm:pt modelId="{9C9E2C2A-555B-49E1-B817-44BE7CFB2328}">
      <dgm:prSet/>
      <dgm:spPr/>
      <dgm:t>
        <a:bodyPr/>
        <a:lstStyle/>
        <a:p>
          <a:r>
            <a:rPr lang="en-US"/>
            <a:t>Contact Information</a:t>
          </a:r>
        </a:p>
      </dgm:t>
    </dgm:pt>
    <dgm:pt modelId="{CECA0937-2ABC-4FEB-9080-8F9A4443A719}" type="parTrans" cxnId="{BC98B5D5-2562-4B03-A1DC-55BF7327E4DC}">
      <dgm:prSet/>
      <dgm:spPr/>
      <dgm:t>
        <a:bodyPr/>
        <a:lstStyle/>
        <a:p>
          <a:endParaRPr lang="en-US"/>
        </a:p>
      </dgm:t>
    </dgm:pt>
    <dgm:pt modelId="{8DE3F89E-3E66-4E42-9CCD-2E27BE5D5CC5}" type="sibTrans" cxnId="{BC98B5D5-2562-4B03-A1DC-55BF7327E4DC}">
      <dgm:prSet/>
      <dgm:spPr/>
      <dgm:t>
        <a:bodyPr/>
        <a:lstStyle/>
        <a:p>
          <a:endParaRPr lang="en-US"/>
        </a:p>
      </dgm:t>
    </dgm:pt>
    <dgm:pt modelId="{5F0F7C7D-669F-47B1-A1DC-FD347F0877B3}" type="pres">
      <dgm:prSet presAssocID="{403CD983-F92A-4051-A926-A66E49BDD260}" presName="Name0" presStyleCnt="0">
        <dgm:presLayoutVars>
          <dgm:chMax val="7"/>
          <dgm:chPref val="7"/>
          <dgm:dir/>
        </dgm:presLayoutVars>
      </dgm:prSet>
      <dgm:spPr/>
    </dgm:pt>
    <dgm:pt modelId="{99F614C3-0A15-479A-AF2A-CAE647DFF171}" type="pres">
      <dgm:prSet presAssocID="{403CD983-F92A-4051-A926-A66E49BDD260}" presName="Name1" presStyleCnt="0"/>
      <dgm:spPr/>
    </dgm:pt>
    <dgm:pt modelId="{3EFBFF40-5FED-4420-B0F2-991B76C462C8}" type="pres">
      <dgm:prSet presAssocID="{403CD983-F92A-4051-A926-A66E49BDD260}" presName="cycle" presStyleCnt="0"/>
      <dgm:spPr/>
    </dgm:pt>
    <dgm:pt modelId="{FE1123F0-89B1-4A68-ABFF-83366D59A136}" type="pres">
      <dgm:prSet presAssocID="{403CD983-F92A-4051-A926-A66E49BDD260}" presName="srcNode" presStyleLbl="node1" presStyleIdx="0" presStyleCnt="6"/>
      <dgm:spPr/>
    </dgm:pt>
    <dgm:pt modelId="{AC82BBC6-63B1-48D7-9DC7-7B22DECC8B5B}" type="pres">
      <dgm:prSet presAssocID="{403CD983-F92A-4051-A926-A66E49BDD260}" presName="conn" presStyleLbl="parChTrans1D2" presStyleIdx="0" presStyleCnt="1"/>
      <dgm:spPr/>
    </dgm:pt>
    <dgm:pt modelId="{FBF50C33-C66D-4E8F-B051-BAECFEF3F5F3}" type="pres">
      <dgm:prSet presAssocID="{403CD983-F92A-4051-A926-A66E49BDD260}" presName="extraNode" presStyleLbl="node1" presStyleIdx="0" presStyleCnt="6"/>
      <dgm:spPr/>
    </dgm:pt>
    <dgm:pt modelId="{A76F26DC-7255-42E6-9567-1EDD209BFB31}" type="pres">
      <dgm:prSet presAssocID="{403CD983-F92A-4051-A926-A66E49BDD260}" presName="dstNode" presStyleLbl="node1" presStyleIdx="0" presStyleCnt="6"/>
      <dgm:spPr/>
    </dgm:pt>
    <dgm:pt modelId="{2CD003EF-B5E2-4E09-95AB-510B9567AFBD}" type="pres">
      <dgm:prSet presAssocID="{01DC5B44-97CE-4D70-81DC-C40C05178B32}" presName="text_1" presStyleLbl="node1" presStyleIdx="0" presStyleCnt="6">
        <dgm:presLayoutVars>
          <dgm:bulletEnabled val="1"/>
        </dgm:presLayoutVars>
      </dgm:prSet>
      <dgm:spPr/>
    </dgm:pt>
    <dgm:pt modelId="{C5872A45-05AE-4AE9-BF54-40D783C3843D}" type="pres">
      <dgm:prSet presAssocID="{01DC5B44-97CE-4D70-81DC-C40C05178B32}" presName="accent_1" presStyleCnt="0"/>
      <dgm:spPr/>
    </dgm:pt>
    <dgm:pt modelId="{ACC9DA20-0170-40C3-9BD5-B027281E19FE}" type="pres">
      <dgm:prSet presAssocID="{01DC5B44-97CE-4D70-81DC-C40C05178B32}" presName="accentRepeatNode" presStyleLbl="solidFgAcc1" presStyleIdx="0" presStyleCnt="6"/>
      <dgm:spPr/>
    </dgm:pt>
    <dgm:pt modelId="{610EE03A-711F-401F-AD15-58FFBC3C4F2A}" type="pres">
      <dgm:prSet presAssocID="{14786AA3-8DAC-4CE1-B90A-8BC49C45159B}" presName="text_2" presStyleLbl="node1" presStyleIdx="1" presStyleCnt="6">
        <dgm:presLayoutVars>
          <dgm:bulletEnabled val="1"/>
        </dgm:presLayoutVars>
      </dgm:prSet>
      <dgm:spPr/>
    </dgm:pt>
    <dgm:pt modelId="{05C2C9EE-8FA4-48CD-A210-AF4BD67E4FCE}" type="pres">
      <dgm:prSet presAssocID="{14786AA3-8DAC-4CE1-B90A-8BC49C45159B}" presName="accent_2" presStyleCnt="0"/>
      <dgm:spPr/>
    </dgm:pt>
    <dgm:pt modelId="{39A90EFA-8089-4876-805B-D63BBD3F91E3}" type="pres">
      <dgm:prSet presAssocID="{14786AA3-8DAC-4CE1-B90A-8BC49C45159B}" presName="accentRepeatNode" presStyleLbl="solidFgAcc1" presStyleIdx="1" presStyleCnt="6"/>
      <dgm:spPr/>
    </dgm:pt>
    <dgm:pt modelId="{BD0AD6C4-9716-4A3B-AA44-CF1FC46B6EC6}" type="pres">
      <dgm:prSet presAssocID="{727C0180-278B-4AB9-9420-FE980FA9ED8C}" presName="text_3" presStyleLbl="node1" presStyleIdx="2" presStyleCnt="6">
        <dgm:presLayoutVars>
          <dgm:bulletEnabled val="1"/>
        </dgm:presLayoutVars>
      </dgm:prSet>
      <dgm:spPr/>
    </dgm:pt>
    <dgm:pt modelId="{6BC4A65F-666C-4174-9C95-4D5B9141407E}" type="pres">
      <dgm:prSet presAssocID="{727C0180-278B-4AB9-9420-FE980FA9ED8C}" presName="accent_3" presStyleCnt="0"/>
      <dgm:spPr/>
    </dgm:pt>
    <dgm:pt modelId="{29919C35-5922-40B2-BCEC-FBF262640A1B}" type="pres">
      <dgm:prSet presAssocID="{727C0180-278B-4AB9-9420-FE980FA9ED8C}" presName="accentRepeatNode" presStyleLbl="solidFgAcc1" presStyleIdx="2" presStyleCnt="6"/>
      <dgm:spPr/>
    </dgm:pt>
    <dgm:pt modelId="{058C35A8-0B6A-40CB-BDC0-2D4993FEE631}" type="pres">
      <dgm:prSet presAssocID="{550BB809-BBD9-4F40-AD10-12224C769336}" presName="text_4" presStyleLbl="node1" presStyleIdx="3" presStyleCnt="6">
        <dgm:presLayoutVars>
          <dgm:bulletEnabled val="1"/>
        </dgm:presLayoutVars>
      </dgm:prSet>
      <dgm:spPr/>
    </dgm:pt>
    <dgm:pt modelId="{8F6134A3-8346-4AF5-88F5-D30E3087CC95}" type="pres">
      <dgm:prSet presAssocID="{550BB809-BBD9-4F40-AD10-12224C769336}" presName="accent_4" presStyleCnt="0"/>
      <dgm:spPr/>
    </dgm:pt>
    <dgm:pt modelId="{0DCA017F-117C-41B4-9D2E-CBF9D69FA325}" type="pres">
      <dgm:prSet presAssocID="{550BB809-BBD9-4F40-AD10-12224C769336}" presName="accentRepeatNode" presStyleLbl="solidFgAcc1" presStyleIdx="3" presStyleCnt="6"/>
      <dgm:spPr/>
    </dgm:pt>
    <dgm:pt modelId="{03E97B1D-E0D1-45C9-BF23-E67F719F3077}" type="pres">
      <dgm:prSet presAssocID="{7D2860BA-DE61-4236-8154-44CAA7CA0B87}" presName="text_5" presStyleLbl="node1" presStyleIdx="4" presStyleCnt="6">
        <dgm:presLayoutVars>
          <dgm:bulletEnabled val="1"/>
        </dgm:presLayoutVars>
      </dgm:prSet>
      <dgm:spPr/>
    </dgm:pt>
    <dgm:pt modelId="{AE20AAA9-08D1-4649-877A-AC8667B1A9A6}" type="pres">
      <dgm:prSet presAssocID="{7D2860BA-DE61-4236-8154-44CAA7CA0B87}" presName="accent_5" presStyleCnt="0"/>
      <dgm:spPr/>
    </dgm:pt>
    <dgm:pt modelId="{EFBA1480-C7CF-4AA0-8FC6-AA518FA70BF1}" type="pres">
      <dgm:prSet presAssocID="{7D2860BA-DE61-4236-8154-44CAA7CA0B87}" presName="accentRepeatNode" presStyleLbl="solidFgAcc1" presStyleIdx="4" presStyleCnt="6"/>
      <dgm:spPr/>
    </dgm:pt>
    <dgm:pt modelId="{3234730F-BE99-4A1B-A96D-B4A07AC3A35D}" type="pres">
      <dgm:prSet presAssocID="{9C9E2C2A-555B-49E1-B817-44BE7CFB2328}" presName="text_6" presStyleLbl="node1" presStyleIdx="5" presStyleCnt="6">
        <dgm:presLayoutVars>
          <dgm:bulletEnabled val="1"/>
        </dgm:presLayoutVars>
      </dgm:prSet>
      <dgm:spPr/>
    </dgm:pt>
    <dgm:pt modelId="{2E4F9BBC-97DA-48AA-B394-E31ABEF946E1}" type="pres">
      <dgm:prSet presAssocID="{9C9E2C2A-555B-49E1-B817-44BE7CFB2328}" presName="accent_6" presStyleCnt="0"/>
      <dgm:spPr/>
    </dgm:pt>
    <dgm:pt modelId="{43492123-7F60-4106-BD36-203DEAA41DFD}" type="pres">
      <dgm:prSet presAssocID="{9C9E2C2A-555B-49E1-B817-44BE7CFB2328}" presName="accentRepeatNode" presStyleLbl="solidFgAcc1" presStyleIdx="5" presStyleCnt="6"/>
      <dgm:spPr/>
    </dgm:pt>
  </dgm:ptLst>
  <dgm:cxnLst>
    <dgm:cxn modelId="{231FE004-B107-4BEB-837A-51B081A456BF}" srcId="{403CD983-F92A-4051-A926-A66E49BDD260}" destId="{01DC5B44-97CE-4D70-81DC-C40C05178B32}" srcOrd="0" destOrd="0" parTransId="{A1FBC795-C850-47E6-A503-DF7973CE0B28}" sibTransId="{6714DA7D-71AE-41E5-9483-777EB4358F6D}"/>
    <dgm:cxn modelId="{A55B2B08-05EF-4D85-8B7F-91BA429B800D}" type="presOf" srcId="{403CD983-F92A-4051-A926-A66E49BDD260}" destId="{5F0F7C7D-669F-47B1-A1DC-FD347F0877B3}" srcOrd="0" destOrd="0" presId="urn:microsoft.com/office/officeart/2008/layout/VerticalCurvedList"/>
    <dgm:cxn modelId="{A32C5409-701A-4ABB-9F69-1A18C9CB5EF9}" srcId="{403CD983-F92A-4051-A926-A66E49BDD260}" destId="{14786AA3-8DAC-4CE1-B90A-8BC49C45159B}" srcOrd="1" destOrd="0" parTransId="{82AD8B87-5B9A-4360-A61B-34DE3167EB01}" sibTransId="{8673F73A-D02B-4302-9AA1-2B0A1EB37EF5}"/>
    <dgm:cxn modelId="{CF5E2B17-F950-4EB4-A690-6CDDA07DE499}" srcId="{403CD983-F92A-4051-A926-A66E49BDD260}" destId="{727C0180-278B-4AB9-9420-FE980FA9ED8C}" srcOrd="2" destOrd="0" parTransId="{8AC8B563-DE7E-4AB6-B230-D673928349AA}" sibTransId="{6E11A9E1-0F30-495E-84DB-0F57196B3146}"/>
    <dgm:cxn modelId="{C78AF725-2A53-46B2-8B55-C59B25DC1405}" type="presOf" srcId="{7D2860BA-DE61-4236-8154-44CAA7CA0B87}" destId="{03E97B1D-E0D1-45C9-BF23-E67F719F3077}" srcOrd="0" destOrd="0" presId="urn:microsoft.com/office/officeart/2008/layout/VerticalCurvedList"/>
    <dgm:cxn modelId="{1094AD28-E09A-448A-A357-D1087206880E}" srcId="{403CD983-F92A-4051-A926-A66E49BDD260}" destId="{550BB809-BBD9-4F40-AD10-12224C769336}" srcOrd="3" destOrd="0" parTransId="{70361DFC-871E-41A9-BAE2-21BD0880E4EC}" sibTransId="{0DBEBE6F-04E6-4DDD-9AFF-5CDA4760159B}"/>
    <dgm:cxn modelId="{EBDAAE7D-37F9-452F-A22B-E4A379B1C1B5}" type="presOf" srcId="{01DC5B44-97CE-4D70-81DC-C40C05178B32}" destId="{2CD003EF-B5E2-4E09-95AB-510B9567AFBD}" srcOrd="0" destOrd="0" presId="urn:microsoft.com/office/officeart/2008/layout/VerticalCurvedList"/>
    <dgm:cxn modelId="{95A80D86-AE90-4DA8-9F34-575935E4A57F}" srcId="{403CD983-F92A-4051-A926-A66E49BDD260}" destId="{7D2860BA-DE61-4236-8154-44CAA7CA0B87}" srcOrd="4" destOrd="0" parTransId="{98150439-D8E0-44E0-B5F6-D094B51A6B5E}" sibTransId="{C01BA978-970A-4B69-BA9A-0C59E123B874}"/>
    <dgm:cxn modelId="{66A026A8-834D-4FD6-9456-43ED5E810193}" type="presOf" srcId="{14786AA3-8DAC-4CE1-B90A-8BC49C45159B}" destId="{610EE03A-711F-401F-AD15-58FFBC3C4F2A}" srcOrd="0" destOrd="0" presId="urn:microsoft.com/office/officeart/2008/layout/VerticalCurvedList"/>
    <dgm:cxn modelId="{12F98AB7-8DB3-4859-A467-841923712055}" type="presOf" srcId="{727C0180-278B-4AB9-9420-FE980FA9ED8C}" destId="{BD0AD6C4-9716-4A3B-AA44-CF1FC46B6EC6}" srcOrd="0" destOrd="0" presId="urn:microsoft.com/office/officeart/2008/layout/VerticalCurvedList"/>
    <dgm:cxn modelId="{F5892DC1-E814-4F4B-9BC9-A333C3F159A6}" type="presOf" srcId="{550BB809-BBD9-4F40-AD10-12224C769336}" destId="{058C35A8-0B6A-40CB-BDC0-2D4993FEE631}" srcOrd="0" destOrd="0" presId="urn:microsoft.com/office/officeart/2008/layout/VerticalCurvedList"/>
    <dgm:cxn modelId="{BC98B5D5-2562-4B03-A1DC-55BF7327E4DC}" srcId="{403CD983-F92A-4051-A926-A66E49BDD260}" destId="{9C9E2C2A-555B-49E1-B817-44BE7CFB2328}" srcOrd="5" destOrd="0" parTransId="{CECA0937-2ABC-4FEB-9080-8F9A4443A719}" sibTransId="{8DE3F89E-3E66-4E42-9CCD-2E27BE5D5CC5}"/>
    <dgm:cxn modelId="{2BC35EE1-326F-419B-83AE-C9F6ECC0BFDD}" type="presOf" srcId="{6714DA7D-71AE-41E5-9483-777EB4358F6D}" destId="{AC82BBC6-63B1-48D7-9DC7-7B22DECC8B5B}" srcOrd="0" destOrd="0" presId="urn:microsoft.com/office/officeart/2008/layout/VerticalCurvedList"/>
    <dgm:cxn modelId="{30AE42EF-4E68-4040-9A9F-AA0510C93C48}" type="presOf" srcId="{9C9E2C2A-555B-49E1-B817-44BE7CFB2328}" destId="{3234730F-BE99-4A1B-A96D-B4A07AC3A35D}" srcOrd="0" destOrd="0" presId="urn:microsoft.com/office/officeart/2008/layout/VerticalCurvedList"/>
    <dgm:cxn modelId="{1B23E2A2-F923-40FD-906D-3A08BBBA0BA3}" type="presParOf" srcId="{5F0F7C7D-669F-47B1-A1DC-FD347F0877B3}" destId="{99F614C3-0A15-479A-AF2A-CAE647DFF171}" srcOrd="0" destOrd="0" presId="urn:microsoft.com/office/officeart/2008/layout/VerticalCurvedList"/>
    <dgm:cxn modelId="{FDE19950-6B49-47F1-80C4-8BF00A0CEC90}" type="presParOf" srcId="{99F614C3-0A15-479A-AF2A-CAE647DFF171}" destId="{3EFBFF40-5FED-4420-B0F2-991B76C462C8}" srcOrd="0" destOrd="0" presId="urn:microsoft.com/office/officeart/2008/layout/VerticalCurvedList"/>
    <dgm:cxn modelId="{23E52C71-661C-41C3-AB9B-B02DF759B6AB}" type="presParOf" srcId="{3EFBFF40-5FED-4420-B0F2-991B76C462C8}" destId="{FE1123F0-89B1-4A68-ABFF-83366D59A136}" srcOrd="0" destOrd="0" presId="urn:microsoft.com/office/officeart/2008/layout/VerticalCurvedList"/>
    <dgm:cxn modelId="{9C91B9F5-1047-4F50-90ED-0FB1192ADE28}" type="presParOf" srcId="{3EFBFF40-5FED-4420-B0F2-991B76C462C8}" destId="{AC82BBC6-63B1-48D7-9DC7-7B22DECC8B5B}" srcOrd="1" destOrd="0" presId="urn:microsoft.com/office/officeart/2008/layout/VerticalCurvedList"/>
    <dgm:cxn modelId="{9FBB511D-05BA-424F-B409-3E2601D69E51}" type="presParOf" srcId="{3EFBFF40-5FED-4420-B0F2-991B76C462C8}" destId="{FBF50C33-C66D-4E8F-B051-BAECFEF3F5F3}" srcOrd="2" destOrd="0" presId="urn:microsoft.com/office/officeart/2008/layout/VerticalCurvedList"/>
    <dgm:cxn modelId="{8A0AFB14-6007-4DD6-B448-EB7D8564B244}" type="presParOf" srcId="{3EFBFF40-5FED-4420-B0F2-991B76C462C8}" destId="{A76F26DC-7255-42E6-9567-1EDD209BFB31}" srcOrd="3" destOrd="0" presId="urn:microsoft.com/office/officeart/2008/layout/VerticalCurvedList"/>
    <dgm:cxn modelId="{4A278980-4B91-4140-8BE1-7531BA87F6C5}" type="presParOf" srcId="{99F614C3-0A15-479A-AF2A-CAE647DFF171}" destId="{2CD003EF-B5E2-4E09-95AB-510B9567AFBD}" srcOrd="1" destOrd="0" presId="urn:microsoft.com/office/officeart/2008/layout/VerticalCurvedList"/>
    <dgm:cxn modelId="{8EBE5DCA-9204-4D86-9041-14C3FCDD8CC5}" type="presParOf" srcId="{99F614C3-0A15-479A-AF2A-CAE647DFF171}" destId="{C5872A45-05AE-4AE9-BF54-40D783C3843D}" srcOrd="2" destOrd="0" presId="urn:microsoft.com/office/officeart/2008/layout/VerticalCurvedList"/>
    <dgm:cxn modelId="{A3FC9A0C-8885-475F-A3B8-BACBDFA65B63}" type="presParOf" srcId="{C5872A45-05AE-4AE9-BF54-40D783C3843D}" destId="{ACC9DA20-0170-40C3-9BD5-B027281E19FE}" srcOrd="0" destOrd="0" presId="urn:microsoft.com/office/officeart/2008/layout/VerticalCurvedList"/>
    <dgm:cxn modelId="{77C41A3E-A78B-4FF3-96A9-3D9AC6014D51}" type="presParOf" srcId="{99F614C3-0A15-479A-AF2A-CAE647DFF171}" destId="{610EE03A-711F-401F-AD15-58FFBC3C4F2A}" srcOrd="3" destOrd="0" presId="urn:microsoft.com/office/officeart/2008/layout/VerticalCurvedList"/>
    <dgm:cxn modelId="{527A438F-F250-4346-AE22-DC766F0D49CF}" type="presParOf" srcId="{99F614C3-0A15-479A-AF2A-CAE647DFF171}" destId="{05C2C9EE-8FA4-48CD-A210-AF4BD67E4FCE}" srcOrd="4" destOrd="0" presId="urn:microsoft.com/office/officeart/2008/layout/VerticalCurvedList"/>
    <dgm:cxn modelId="{3C3C6562-DFA2-4173-922D-CC5D573B56ED}" type="presParOf" srcId="{05C2C9EE-8FA4-48CD-A210-AF4BD67E4FCE}" destId="{39A90EFA-8089-4876-805B-D63BBD3F91E3}" srcOrd="0" destOrd="0" presId="urn:microsoft.com/office/officeart/2008/layout/VerticalCurvedList"/>
    <dgm:cxn modelId="{5D16CC92-3E0E-4361-8D2D-995AE61128DC}" type="presParOf" srcId="{99F614C3-0A15-479A-AF2A-CAE647DFF171}" destId="{BD0AD6C4-9716-4A3B-AA44-CF1FC46B6EC6}" srcOrd="5" destOrd="0" presId="urn:microsoft.com/office/officeart/2008/layout/VerticalCurvedList"/>
    <dgm:cxn modelId="{17F2FEF0-CEA7-4B42-9E78-C8DB5841FF70}" type="presParOf" srcId="{99F614C3-0A15-479A-AF2A-CAE647DFF171}" destId="{6BC4A65F-666C-4174-9C95-4D5B9141407E}" srcOrd="6" destOrd="0" presId="urn:microsoft.com/office/officeart/2008/layout/VerticalCurvedList"/>
    <dgm:cxn modelId="{D489046A-7917-4173-BC73-0541D8CAD965}" type="presParOf" srcId="{6BC4A65F-666C-4174-9C95-4D5B9141407E}" destId="{29919C35-5922-40B2-BCEC-FBF262640A1B}" srcOrd="0" destOrd="0" presId="urn:microsoft.com/office/officeart/2008/layout/VerticalCurvedList"/>
    <dgm:cxn modelId="{863E54C1-E85E-410E-958E-156DF1D12EDF}" type="presParOf" srcId="{99F614C3-0A15-479A-AF2A-CAE647DFF171}" destId="{058C35A8-0B6A-40CB-BDC0-2D4993FEE631}" srcOrd="7" destOrd="0" presId="urn:microsoft.com/office/officeart/2008/layout/VerticalCurvedList"/>
    <dgm:cxn modelId="{F120011F-23FB-44A3-AE34-686DEB896C4A}" type="presParOf" srcId="{99F614C3-0A15-479A-AF2A-CAE647DFF171}" destId="{8F6134A3-8346-4AF5-88F5-D30E3087CC95}" srcOrd="8" destOrd="0" presId="urn:microsoft.com/office/officeart/2008/layout/VerticalCurvedList"/>
    <dgm:cxn modelId="{6FF824DD-31DA-4143-B419-F819FF3D6824}" type="presParOf" srcId="{8F6134A3-8346-4AF5-88F5-D30E3087CC95}" destId="{0DCA017F-117C-41B4-9D2E-CBF9D69FA325}" srcOrd="0" destOrd="0" presId="urn:microsoft.com/office/officeart/2008/layout/VerticalCurvedList"/>
    <dgm:cxn modelId="{F2402A88-CC4B-4237-9AB3-3C4B28BFDD1E}" type="presParOf" srcId="{99F614C3-0A15-479A-AF2A-CAE647DFF171}" destId="{03E97B1D-E0D1-45C9-BF23-E67F719F3077}" srcOrd="9" destOrd="0" presId="urn:microsoft.com/office/officeart/2008/layout/VerticalCurvedList"/>
    <dgm:cxn modelId="{EE909CB8-3114-4234-9316-DBDECE641BF9}" type="presParOf" srcId="{99F614C3-0A15-479A-AF2A-CAE647DFF171}" destId="{AE20AAA9-08D1-4649-877A-AC8667B1A9A6}" srcOrd="10" destOrd="0" presId="urn:microsoft.com/office/officeart/2008/layout/VerticalCurvedList"/>
    <dgm:cxn modelId="{90774E11-71AF-41BD-A93C-702A376AFFF8}" type="presParOf" srcId="{AE20AAA9-08D1-4649-877A-AC8667B1A9A6}" destId="{EFBA1480-C7CF-4AA0-8FC6-AA518FA70BF1}" srcOrd="0" destOrd="0" presId="urn:microsoft.com/office/officeart/2008/layout/VerticalCurvedList"/>
    <dgm:cxn modelId="{C57CE7B9-A029-4619-ACF9-989EFB82B57E}" type="presParOf" srcId="{99F614C3-0A15-479A-AF2A-CAE647DFF171}" destId="{3234730F-BE99-4A1B-A96D-B4A07AC3A35D}" srcOrd="11" destOrd="0" presId="urn:microsoft.com/office/officeart/2008/layout/VerticalCurvedList"/>
    <dgm:cxn modelId="{80A3B34A-B08A-4D70-8F23-E7EEF2BC0C8E}" type="presParOf" srcId="{99F614C3-0A15-479A-AF2A-CAE647DFF171}" destId="{2E4F9BBC-97DA-48AA-B394-E31ABEF946E1}" srcOrd="12" destOrd="0" presId="urn:microsoft.com/office/officeart/2008/layout/VerticalCurvedList"/>
    <dgm:cxn modelId="{21E61A4F-A23A-4936-BD13-009AC47FF3E6}" type="presParOf" srcId="{2E4F9BBC-97DA-48AA-B394-E31ABEF946E1}" destId="{43492123-7F60-4106-BD36-203DEAA41DFD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8CC543E-9A3C-46FF-B206-0ECEFC9D7CF1}" type="doc">
      <dgm:prSet loTypeId="urn:microsoft.com/office/officeart/2018/2/layout/IconVerticalSolidList" loCatId="icon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8C451CAF-D4FD-4B2F-9B55-13F90FF84A0C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2600"/>
            <a:t>For questions related to </a:t>
          </a:r>
          <a:r>
            <a:rPr lang="en-US" sz="2600" b="1"/>
            <a:t>local audits, corrective actions, or compliance reviews</a:t>
          </a:r>
          <a:r>
            <a:rPr lang="en-US" sz="2600"/>
            <a:t>, email the SRDU team at </a:t>
          </a:r>
          <a:r>
            <a:rPr lang="en-US" sz="2600">
              <a:hlinkClick xmlns:r="http://schemas.openxmlformats.org/officeDocument/2006/relationships" r:id="rId1"/>
            </a:rPr>
            <a:t>DataComplaints@tea.texas.gov</a:t>
          </a:r>
          <a:endParaRPr lang="en-US" sz="2600"/>
        </a:p>
      </dgm:t>
    </dgm:pt>
    <dgm:pt modelId="{3A6D8A88-91DC-4BCD-BC7B-F47D30800658}" type="parTrans" cxnId="{AEDEF405-AD78-4C15-AAA5-E5E29E7015C6}">
      <dgm:prSet/>
      <dgm:spPr/>
      <dgm:t>
        <a:bodyPr/>
        <a:lstStyle/>
        <a:p>
          <a:endParaRPr lang="en-US"/>
        </a:p>
      </dgm:t>
    </dgm:pt>
    <dgm:pt modelId="{C8978D62-DAAD-4B48-8BF7-2DCED241454B}" type="sibTrans" cxnId="{AEDEF405-AD78-4C15-AAA5-E5E29E7015C6}">
      <dgm:prSet/>
      <dgm:spPr/>
      <dgm:t>
        <a:bodyPr/>
        <a:lstStyle/>
        <a:p>
          <a:endParaRPr lang="en-US"/>
        </a:p>
      </dgm:t>
    </dgm:pt>
    <dgm:pt modelId="{0116BA95-9319-431A-B69E-42BF60531BEB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2600"/>
            <a:t>For questions related to the </a:t>
          </a:r>
          <a:r>
            <a:rPr lang="en-US" sz="2600" b="1"/>
            <a:t>underreported processing change or leaver reporting and documentation requirements</a:t>
          </a:r>
          <a:r>
            <a:rPr lang="en-US" sz="2600"/>
            <a:t>, please contact the Research and Analysis division at </a:t>
          </a:r>
          <a:r>
            <a:rPr lang="en-US" sz="2600" u="sng">
              <a:hlinkClick xmlns:r="http://schemas.openxmlformats.org/officeDocument/2006/relationships" r:id="rId2"/>
            </a:rPr>
            <a:t>research@tea.texas.gov</a:t>
          </a:r>
          <a:endParaRPr lang="en-US" sz="2600"/>
        </a:p>
      </dgm:t>
    </dgm:pt>
    <dgm:pt modelId="{51C4E5C0-94ED-45AD-BC2D-46FAFE65672C}" type="parTrans" cxnId="{94D0B086-697B-4849-B469-AD57CC578183}">
      <dgm:prSet/>
      <dgm:spPr/>
      <dgm:t>
        <a:bodyPr/>
        <a:lstStyle/>
        <a:p>
          <a:endParaRPr lang="en-US"/>
        </a:p>
      </dgm:t>
    </dgm:pt>
    <dgm:pt modelId="{60BB8191-22AD-48D5-9326-1D31AF049842}" type="sibTrans" cxnId="{94D0B086-697B-4849-B469-AD57CC578183}">
      <dgm:prSet/>
      <dgm:spPr/>
      <dgm:t>
        <a:bodyPr/>
        <a:lstStyle/>
        <a:p>
          <a:endParaRPr lang="en-US"/>
        </a:p>
      </dgm:t>
    </dgm:pt>
    <dgm:pt modelId="{6A30A992-7FAF-4C2A-B83A-0889843650B0}" type="pres">
      <dgm:prSet presAssocID="{78CC543E-9A3C-46FF-B206-0ECEFC9D7CF1}" presName="root" presStyleCnt="0">
        <dgm:presLayoutVars>
          <dgm:dir/>
          <dgm:resizeHandles val="exact"/>
        </dgm:presLayoutVars>
      </dgm:prSet>
      <dgm:spPr/>
    </dgm:pt>
    <dgm:pt modelId="{D283C3C9-E0E8-4421-BFBE-A8D0E7AA01D3}" type="pres">
      <dgm:prSet presAssocID="{8C451CAF-D4FD-4B2F-9B55-13F90FF84A0C}" presName="compNode" presStyleCnt="0"/>
      <dgm:spPr/>
    </dgm:pt>
    <dgm:pt modelId="{A13D26DD-8269-4F23-8143-64B835666673}" type="pres">
      <dgm:prSet presAssocID="{8C451CAF-D4FD-4B2F-9B55-13F90FF84A0C}" presName="bgRect" presStyleLbl="bgShp" presStyleIdx="0" presStyleCnt="2"/>
      <dgm:spPr/>
    </dgm:pt>
    <dgm:pt modelId="{9F4C9602-E1C7-412F-8569-00FE1086C663}" type="pres">
      <dgm:prSet presAssocID="{8C451CAF-D4FD-4B2F-9B55-13F90FF84A0C}" presName="iconRect" presStyleLbl="node1" presStyleIdx="0" presStyleCnt="2"/>
      <dgm:spPr>
        <a:blipFill>
          <a:blip xmlns:r="http://schemas.openxmlformats.org/officeDocument/2006/relationships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Email"/>
        </a:ext>
      </dgm:extLst>
    </dgm:pt>
    <dgm:pt modelId="{873D3690-0D29-481A-9F9D-2AD01ADCDFB3}" type="pres">
      <dgm:prSet presAssocID="{8C451CAF-D4FD-4B2F-9B55-13F90FF84A0C}" presName="spaceRect" presStyleCnt="0"/>
      <dgm:spPr/>
    </dgm:pt>
    <dgm:pt modelId="{362B25E9-F180-4A59-A8B7-4F2E175A2003}" type="pres">
      <dgm:prSet presAssocID="{8C451CAF-D4FD-4B2F-9B55-13F90FF84A0C}" presName="parTx" presStyleLbl="revTx" presStyleIdx="0" presStyleCnt="2">
        <dgm:presLayoutVars>
          <dgm:chMax val="0"/>
          <dgm:chPref val="0"/>
        </dgm:presLayoutVars>
      </dgm:prSet>
      <dgm:spPr/>
    </dgm:pt>
    <dgm:pt modelId="{A6577406-DD58-4E8D-B58B-3EE6922AEA64}" type="pres">
      <dgm:prSet presAssocID="{C8978D62-DAAD-4B48-8BF7-2DCED241454B}" presName="sibTrans" presStyleCnt="0"/>
      <dgm:spPr/>
    </dgm:pt>
    <dgm:pt modelId="{E12CDFC5-B38C-4566-811F-D3C1EE3BD95D}" type="pres">
      <dgm:prSet presAssocID="{0116BA95-9319-431A-B69E-42BF60531BEB}" presName="compNode" presStyleCnt="0"/>
      <dgm:spPr/>
    </dgm:pt>
    <dgm:pt modelId="{3FC9128F-434E-4C96-AE14-C8958C46B6C9}" type="pres">
      <dgm:prSet presAssocID="{0116BA95-9319-431A-B69E-42BF60531BEB}" presName="bgRect" presStyleLbl="bgShp" presStyleIdx="1" presStyleCnt="2"/>
      <dgm:spPr/>
    </dgm:pt>
    <dgm:pt modelId="{BD81AE09-A502-4BA6-A153-7D83FFBA1549}" type="pres">
      <dgm:prSet presAssocID="{0116BA95-9319-431A-B69E-42BF60531BEB}" presName="iconRect" presStyleLbl="node1" presStyleIdx="1" presStyleCnt="2"/>
      <dgm:spPr>
        <a:blipFill>
          <a:blip xmlns:r="http://schemas.openxmlformats.org/officeDocument/2006/relationships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Send with solid fill"/>
        </a:ext>
      </dgm:extLst>
    </dgm:pt>
    <dgm:pt modelId="{103469FD-2E2E-47D1-9B48-6B228270B3FA}" type="pres">
      <dgm:prSet presAssocID="{0116BA95-9319-431A-B69E-42BF60531BEB}" presName="spaceRect" presStyleCnt="0"/>
      <dgm:spPr/>
    </dgm:pt>
    <dgm:pt modelId="{50024BCC-CC46-40A4-8EED-8A40CF38C212}" type="pres">
      <dgm:prSet presAssocID="{0116BA95-9319-431A-B69E-42BF60531BEB}" presName="parTx" presStyleLbl="revTx" presStyleIdx="1" presStyleCnt="2">
        <dgm:presLayoutVars>
          <dgm:chMax val="0"/>
          <dgm:chPref val="0"/>
        </dgm:presLayoutVars>
      </dgm:prSet>
      <dgm:spPr/>
    </dgm:pt>
  </dgm:ptLst>
  <dgm:cxnLst>
    <dgm:cxn modelId="{AEDEF405-AD78-4C15-AAA5-E5E29E7015C6}" srcId="{78CC543E-9A3C-46FF-B206-0ECEFC9D7CF1}" destId="{8C451CAF-D4FD-4B2F-9B55-13F90FF84A0C}" srcOrd="0" destOrd="0" parTransId="{3A6D8A88-91DC-4BCD-BC7B-F47D30800658}" sibTransId="{C8978D62-DAAD-4B48-8BF7-2DCED241454B}"/>
    <dgm:cxn modelId="{70CCC37A-1814-457F-95FD-1C1113ED081C}" type="presOf" srcId="{0116BA95-9319-431A-B69E-42BF60531BEB}" destId="{50024BCC-CC46-40A4-8EED-8A40CF38C212}" srcOrd="0" destOrd="0" presId="urn:microsoft.com/office/officeart/2018/2/layout/IconVerticalSolidList"/>
    <dgm:cxn modelId="{94D0B086-697B-4849-B469-AD57CC578183}" srcId="{78CC543E-9A3C-46FF-B206-0ECEFC9D7CF1}" destId="{0116BA95-9319-431A-B69E-42BF60531BEB}" srcOrd="1" destOrd="0" parTransId="{51C4E5C0-94ED-45AD-BC2D-46FAFE65672C}" sibTransId="{60BB8191-22AD-48D5-9326-1D31AF049842}"/>
    <dgm:cxn modelId="{31977B94-A1C7-48C1-A0C4-9DB9864553F2}" type="presOf" srcId="{8C451CAF-D4FD-4B2F-9B55-13F90FF84A0C}" destId="{362B25E9-F180-4A59-A8B7-4F2E175A2003}" srcOrd="0" destOrd="0" presId="urn:microsoft.com/office/officeart/2018/2/layout/IconVerticalSolidList"/>
    <dgm:cxn modelId="{4CD64E98-7D27-4751-8C10-6165B03756C6}" type="presOf" srcId="{78CC543E-9A3C-46FF-B206-0ECEFC9D7CF1}" destId="{6A30A992-7FAF-4C2A-B83A-0889843650B0}" srcOrd="0" destOrd="0" presId="urn:microsoft.com/office/officeart/2018/2/layout/IconVerticalSolidList"/>
    <dgm:cxn modelId="{ADD47126-3BB3-4736-B173-4BB31C788528}" type="presParOf" srcId="{6A30A992-7FAF-4C2A-B83A-0889843650B0}" destId="{D283C3C9-E0E8-4421-BFBE-A8D0E7AA01D3}" srcOrd="0" destOrd="0" presId="urn:microsoft.com/office/officeart/2018/2/layout/IconVerticalSolidList"/>
    <dgm:cxn modelId="{014D611C-2FFA-4E98-AF8F-C1C46D5A814D}" type="presParOf" srcId="{D283C3C9-E0E8-4421-BFBE-A8D0E7AA01D3}" destId="{A13D26DD-8269-4F23-8143-64B835666673}" srcOrd="0" destOrd="0" presId="urn:microsoft.com/office/officeart/2018/2/layout/IconVerticalSolidList"/>
    <dgm:cxn modelId="{D87EFBE5-BB39-4312-9019-F442E37A3E59}" type="presParOf" srcId="{D283C3C9-E0E8-4421-BFBE-A8D0E7AA01D3}" destId="{9F4C9602-E1C7-412F-8569-00FE1086C663}" srcOrd="1" destOrd="0" presId="urn:microsoft.com/office/officeart/2018/2/layout/IconVerticalSolidList"/>
    <dgm:cxn modelId="{5FE0DAD0-C9E2-4C4A-9BCE-2B3EC707D9BB}" type="presParOf" srcId="{D283C3C9-E0E8-4421-BFBE-A8D0E7AA01D3}" destId="{873D3690-0D29-481A-9F9D-2AD01ADCDFB3}" srcOrd="2" destOrd="0" presId="urn:microsoft.com/office/officeart/2018/2/layout/IconVerticalSolidList"/>
    <dgm:cxn modelId="{F7019146-ABF7-413D-8789-E4E50F44E6A8}" type="presParOf" srcId="{D283C3C9-E0E8-4421-BFBE-A8D0E7AA01D3}" destId="{362B25E9-F180-4A59-A8B7-4F2E175A2003}" srcOrd="3" destOrd="0" presId="urn:microsoft.com/office/officeart/2018/2/layout/IconVerticalSolidList"/>
    <dgm:cxn modelId="{54B74C9A-1890-487A-9DFA-388BC834B3F1}" type="presParOf" srcId="{6A30A992-7FAF-4C2A-B83A-0889843650B0}" destId="{A6577406-DD58-4E8D-B58B-3EE6922AEA64}" srcOrd="1" destOrd="0" presId="urn:microsoft.com/office/officeart/2018/2/layout/IconVerticalSolidList"/>
    <dgm:cxn modelId="{1390DAB0-8237-47E5-87DA-7CFD96BEA013}" type="presParOf" srcId="{6A30A992-7FAF-4C2A-B83A-0889843650B0}" destId="{E12CDFC5-B38C-4566-811F-D3C1EE3BD95D}" srcOrd="2" destOrd="0" presId="urn:microsoft.com/office/officeart/2018/2/layout/IconVerticalSolidList"/>
    <dgm:cxn modelId="{230097A0-B343-4C8C-91B2-CF3F472BEFF9}" type="presParOf" srcId="{E12CDFC5-B38C-4566-811F-D3C1EE3BD95D}" destId="{3FC9128F-434E-4C96-AE14-C8958C46B6C9}" srcOrd="0" destOrd="0" presId="urn:microsoft.com/office/officeart/2018/2/layout/IconVerticalSolidList"/>
    <dgm:cxn modelId="{27C24C5B-C18F-4A7B-BAEF-A85ABF32BFCB}" type="presParOf" srcId="{E12CDFC5-B38C-4566-811F-D3C1EE3BD95D}" destId="{BD81AE09-A502-4BA6-A153-7D83FFBA1549}" srcOrd="1" destOrd="0" presId="urn:microsoft.com/office/officeart/2018/2/layout/IconVerticalSolidList"/>
    <dgm:cxn modelId="{8E9159DD-7AE1-4B72-BB96-CDA525DD0DBF}" type="presParOf" srcId="{E12CDFC5-B38C-4566-811F-D3C1EE3BD95D}" destId="{103469FD-2E2E-47D1-9B48-6B228270B3FA}" srcOrd="2" destOrd="0" presId="urn:microsoft.com/office/officeart/2018/2/layout/IconVerticalSolidList"/>
    <dgm:cxn modelId="{02A0B4C7-8BA6-4041-973F-AEF392FC11BE}" type="presParOf" srcId="{E12CDFC5-B38C-4566-811F-D3C1EE3BD95D}" destId="{50024BCC-CC46-40A4-8EED-8A40CF38C212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C82BBC6-63B1-48D7-9DC7-7B22DECC8B5B}">
      <dsp:nvSpPr>
        <dsp:cNvPr id="0" name=""/>
        <dsp:cNvSpPr/>
      </dsp:nvSpPr>
      <dsp:spPr>
        <a:xfrm>
          <a:off x="-6126981" y="-937410"/>
          <a:ext cx="7293488" cy="7293488"/>
        </a:xfrm>
        <a:prstGeom prst="blockArc">
          <a:avLst>
            <a:gd name="adj1" fmla="val 18900000"/>
            <a:gd name="adj2" fmla="val 2700000"/>
            <a:gd name="adj3" fmla="val 296"/>
          </a:avLst>
        </a:prstGeom>
        <a:noFill/>
        <a:ln w="12700" cap="flat" cmpd="sng" algn="ctr">
          <a:solidFill>
            <a:schemeClr val="accent1">
              <a:tint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CD003EF-B5E2-4E09-95AB-510B9567AFBD}">
      <dsp:nvSpPr>
        <dsp:cNvPr id="0" name=""/>
        <dsp:cNvSpPr/>
      </dsp:nvSpPr>
      <dsp:spPr>
        <a:xfrm>
          <a:off x="434398" y="285347"/>
          <a:ext cx="7617019" cy="570477"/>
        </a:xfrm>
        <a:prstGeom prst="rect">
          <a:avLst/>
        </a:prstGeom>
        <a:solidFill>
          <a:schemeClr val="accen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2816" tIns="73660" rIns="73660" bIns="73660" numCol="1" spcCol="1270" anchor="ctr" anchorCtr="0">
          <a:noAutofit/>
        </a:bodyPr>
        <a:lstStyle/>
        <a:p>
          <a:pPr marL="0" lvl="0" indent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kern="1200"/>
            <a:t>SRDU Overview</a:t>
          </a:r>
        </a:p>
      </dsp:txBody>
      <dsp:txXfrm>
        <a:off x="434398" y="285347"/>
        <a:ext cx="7617019" cy="570477"/>
      </dsp:txXfrm>
    </dsp:sp>
    <dsp:sp modelId="{ACC9DA20-0170-40C3-9BD5-B027281E19FE}">
      <dsp:nvSpPr>
        <dsp:cNvPr id="0" name=""/>
        <dsp:cNvSpPr/>
      </dsp:nvSpPr>
      <dsp:spPr>
        <a:xfrm>
          <a:off x="77849" y="214037"/>
          <a:ext cx="713096" cy="71309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10EE03A-711F-401F-AD15-58FFBC3C4F2A}">
      <dsp:nvSpPr>
        <dsp:cNvPr id="0" name=""/>
        <dsp:cNvSpPr/>
      </dsp:nvSpPr>
      <dsp:spPr>
        <a:xfrm>
          <a:off x="903654" y="1140954"/>
          <a:ext cx="7147763" cy="570477"/>
        </a:xfrm>
        <a:prstGeom prst="rect">
          <a:avLst/>
        </a:prstGeom>
        <a:solidFill>
          <a:schemeClr val="accent1">
            <a:alpha val="90000"/>
            <a:hueOff val="0"/>
            <a:satOff val="0"/>
            <a:lumOff val="0"/>
            <a:alphaOff val="-8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2816" tIns="73660" rIns="73660" bIns="73660" numCol="1" spcCol="1270" anchor="ctr" anchorCtr="0">
          <a:noAutofit/>
        </a:bodyPr>
        <a:lstStyle/>
        <a:p>
          <a:pPr marL="0" lvl="0" indent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kern="1200"/>
            <a:t>Leaver Reporting Requirements</a:t>
          </a:r>
        </a:p>
      </dsp:txBody>
      <dsp:txXfrm>
        <a:off x="903654" y="1140954"/>
        <a:ext cx="7147763" cy="570477"/>
      </dsp:txXfrm>
    </dsp:sp>
    <dsp:sp modelId="{39A90EFA-8089-4876-805B-D63BBD3F91E3}">
      <dsp:nvSpPr>
        <dsp:cNvPr id="0" name=""/>
        <dsp:cNvSpPr/>
      </dsp:nvSpPr>
      <dsp:spPr>
        <a:xfrm>
          <a:off x="547106" y="1069644"/>
          <a:ext cx="713096" cy="71309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hueOff val="0"/>
              <a:satOff val="0"/>
              <a:lumOff val="0"/>
              <a:alphaOff val="-8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D0AD6C4-9716-4A3B-AA44-CF1FC46B6EC6}">
      <dsp:nvSpPr>
        <dsp:cNvPr id="0" name=""/>
        <dsp:cNvSpPr/>
      </dsp:nvSpPr>
      <dsp:spPr>
        <a:xfrm>
          <a:off x="1118233" y="1996562"/>
          <a:ext cx="6933183" cy="570477"/>
        </a:xfrm>
        <a:prstGeom prst="rect">
          <a:avLst/>
        </a:prstGeom>
        <a:solidFill>
          <a:schemeClr val="accent1">
            <a:alpha val="90000"/>
            <a:hueOff val="0"/>
            <a:satOff val="0"/>
            <a:lumOff val="0"/>
            <a:alphaOff val="-16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2816" tIns="73660" rIns="73660" bIns="73660" numCol="1" spcCol="1270" anchor="ctr" anchorCtr="0">
          <a:noAutofit/>
        </a:bodyPr>
        <a:lstStyle/>
        <a:p>
          <a:pPr marL="0" lvl="0" indent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kern="1200"/>
            <a:t>Compliance Review Findings</a:t>
          </a:r>
        </a:p>
      </dsp:txBody>
      <dsp:txXfrm>
        <a:off x="1118233" y="1996562"/>
        <a:ext cx="6933183" cy="570477"/>
      </dsp:txXfrm>
    </dsp:sp>
    <dsp:sp modelId="{29919C35-5922-40B2-BCEC-FBF262640A1B}">
      <dsp:nvSpPr>
        <dsp:cNvPr id="0" name=""/>
        <dsp:cNvSpPr/>
      </dsp:nvSpPr>
      <dsp:spPr>
        <a:xfrm>
          <a:off x="761685" y="1925252"/>
          <a:ext cx="713096" cy="71309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hueOff val="0"/>
              <a:satOff val="0"/>
              <a:lumOff val="0"/>
              <a:alphaOff val="-16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58C35A8-0B6A-40CB-BDC0-2D4993FEE631}">
      <dsp:nvSpPr>
        <dsp:cNvPr id="0" name=""/>
        <dsp:cNvSpPr/>
      </dsp:nvSpPr>
      <dsp:spPr>
        <a:xfrm>
          <a:off x="1118233" y="2851627"/>
          <a:ext cx="6933183" cy="570477"/>
        </a:xfrm>
        <a:prstGeom prst="rect">
          <a:avLst/>
        </a:prstGeom>
        <a:solidFill>
          <a:schemeClr val="accent1">
            <a:alpha val="90000"/>
            <a:hueOff val="0"/>
            <a:satOff val="0"/>
            <a:lumOff val="0"/>
            <a:alphaOff val="-24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2816" tIns="73660" rIns="73660" bIns="73660" numCol="1" spcCol="1270" anchor="ctr" anchorCtr="0">
          <a:noAutofit/>
        </a:bodyPr>
        <a:lstStyle/>
        <a:p>
          <a:pPr marL="0" lvl="0" indent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kern="1200"/>
            <a:t>Leaver Reporting Processing Change</a:t>
          </a:r>
        </a:p>
      </dsp:txBody>
      <dsp:txXfrm>
        <a:off x="1118233" y="2851627"/>
        <a:ext cx="6933183" cy="570477"/>
      </dsp:txXfrm>
    </dsp:sp>
    <dsp:sp modelId="{0DCA017F-117C-41B4-9D2E-CBF9D69FA325}">
      <dsp:nvSpPr>
        <dsp:cNvPr id="0" name=""/>
        <dsp:cNvSpPr/>
      </dsp:nvSpPr>
      <dsp:spPr>
        <a:xfrm>
          <a:off x="761685" y="2780318"/>
          <a:ext cx="713096" cy="71309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hueOff val="0"/>
              <a:satOff val="0"/>
              <a:lumOff val="0"/>
              <a:alphaOff val="-24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3E97B1D-E0D1-45C9-BF23-E67F719F3077}">
      <dsp:nvSpPr>
        <dsp:cNvPr id="0" name=""/>
        <dsp:cNvSpPr/>
      </dsp:nvSpPr>
      <dsp:spPr>
        <a:xfrm>
          <a:off x="903654" y="3707235"/>
          <a:ext cx="7147763" cy="570477"/>
        </a:xfrm>
        <a:prstGeom prst="rect">
          <a:avLst/>
        </a:prstGeom>
        <a:solidFill>
          <a:schemeClr val="accent1">
            <a:alpha val="90000"/>
            <a:hueOff val="0"/>
            <a:satOff val="0"/>
            <a:lumOff val="0"/>
            <a:alphaOff val="-32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2816" tIns="73660" rIns="73660" bIns="73660" numCol="1" spcCol="1270" anchor="ctr" anchorCtr="0">
          <a:noAutofit/>
        </a:bodyPr>
        <a:lstStyle/>
        <a:p>
          <a:pPr marL="0" lvl="0" indent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kern="1200"/>
            <a:t>Recommended Local Actions</a:t>
          </a:r>
        </a:p>
      </dsp:txBody>
      <dsp:txXfrm>
        <a:off x="903654" y="3707235"/>
        <a:ext cx="7147763" cy="570477"/>
      </dsp:txXfrm>
    </dsp:sp>
    <dsp:sp modelId="{EFBA1480-C7CF-4AA0-8FC6-AA518FA70BF1}">
      <dsp:nvSpPr>
        <dsp:cNvPr id="0" name=""/>
        <dsp:cNvSpPr/>
      </dsp:nvSpPr>
      <dsp:spPr>
        <a:xfrm>
          <a:off x="547106" y="3635925"/>
          <a:ext cx="713096" cy="71309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hueOff val="0"/>
              <a:satOff val="0"/>
              <a:lumOff val="0"/>
              <a:alphaOff val="-32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234730F-BE99-4A1B-A96D-B4A07AC3A35D}">
      <dsp:nvSpPr>
        <dsp:cNvPr id="0" name=""/>
        <dsp:cNvSpPr/>
      </dsp:nvSpPr>
      <dsp:spPr>
        <a:xfrm>
          <a:off x="434398" y="4562842"/>
          <a:ext cx="7617019" cy="570477"/>
        </a:xfrm>
        <a:prstGeom prst="rect">
          <a:avLst/>
        </a:prstGeom>
        <a:solidFill>
          <a:schemeClr val="accent1">
            <a:alpha val="90000"/>
            <a:hueOff val="0"/>
            <a:satOff val="0"/>
            <a:lumOff val="0"/>
            <a:alphaOff val="-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2816" tIns="73660" rIns="73660" bIns="73660" numCol="1" spcCol="1270" anchor="ctr" anchorCtr="0">
          <a:noAutofit/>
        </a:bodyPr>
        <a:lstStyle/>
        <a:p>
          <a:pPr marL="0" lvl="0" indent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kern="1200"/>
            <a:t>Contact Information</a:t>
          </a:r>
        </a:p>
      </dsp:txBody>
      <dsp:txXfrm>
        <a:off x="434398" y="4562842"/>
        <a:ext cx="7617019" cy="570477"/>
      </dsp:txXfrm>
    </dsp:sp>
    <dsp:sp modelId="{43492123-7F60-4106-BD36-203DEAA41DFD}">
      <dsp:nvSpPr>
        <dsp:cNvPr id="0" name=""/>
        <dsp:cNvSpPr/>
      </dsp:nvSpPr>
      <dsp:spPr>
        <a:xfrm>
          <a:off x="77849" y="4491533"/>
          <a:ext cx="713096" cy="71309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hueOff val="0"/>
              <a:satOff val="0"/>
              <a:lumOff val="0"/>
              <a:alphaOff val="-4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13D26DD-8269-4F23-8143-64B835666673}">
      <dsp:nvSpPr>
        <dsp:cNvPr id="0" name=""/>
        <dsp:cNvSpPr/>
      </dsp:nvSpPr>
      <dsp:spPr>
        <a:xfrm>
          <a:off x="0" y="705471"/>
          <a:ext cx="11544581" cy="1552218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F4C9602-E1C7-412F-8569-00FE1086C663}">
      <dsp:nvSpPr>
        <dsp:cNvPr id="0" name=""/>
        <dsp:cNvSpPr/>
      </dsp:nvSpPr>
      <dsp:spPr>
        <a:xfrm>
          <a:off x="469546" y="1054720"/>
          <a:ext cx="854554" cy="853720"/>
        </a:xfrm>
        <a:prstGeom prst="rect">
          <a:avLst/>
        </a:prstGeom>
        <a:blipFill>
          <a:blip xmlns:r="http://schemas.openxmlformats.org/officeDocument/2006/relationships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62B25E9-F180-4A59-A8B7-4F2E175A2003}">
      <dsp:nvSpPr>
        <dsp:cNvPr id="0" name=""/>
        <dsp:cNvSpPr/>
      </dsp:nvSpPr>
      <dsp:spPr>
        <a:xfrm>
          <a:off x="1793646" y="705471"/>
          <a:ext cx="9747426" cy="155373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4437" tIns="164437" rIns="164437" bIns="164437" numCol="1" spcCol="1270" anchor="ctr" anchorCtr="0">
          <a:noAutofit/>
        </a:bodyPr>
        <a:lstStyle/>
        <a:p>
          <a:pPr marL="0" lvl="0" indent="0" algn="l" defTabSz="11557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kern="1200"/>
            <a:t>For questions related to </a:t>
          </a:r>
          <a:r>
            <a:rPr lang="en-US" sz="2600" b="1" kern="1200"/>
            <a:t>local audits, corrective actions, or compliance reviews</a:t>
          </a:r>
          <a:r>
            <a:rPr lang="en-US" sz="2600" kern="1200"/>
            <a:t>, email the SRDU team at </a:t>
          </a:r>
          <a:r>
            <a:rPr lang="en-US" sz="2600" kern="1200">
              <a:hlinkClick xmlns:r="http://schemas.openxmlformats.org/officeDocument/2006/relationships" r:id="rId2"/>
            </a:rPr>
            <a:t>DataComplaints@tea.texas.gov</a:t>
          </a:r>
          <a:endParaRPr lang="en-US" sz="2600" kern="1200"/>
        </a:p>
      </dsp:txBody>
      <dsp:txXfrm>
        <a:off x="1793646" y="705471"/>
        <a:ext cx="9747426" cy="1553735"/>
      </dsp:txXfrm>
    </dsp:sp>
    <dsp:sp modelId="{3FC9128F-434E-4C96-AE14-C8958C46B6C9}">
      <dsp:nvSpPr>
        <dsp:cNvPr id="0" name=""/>
        <dsp:cNvSpPr/>
      </dsp:nvSpPr>
      <dsp:spPr>
        <a:xfrm>
          <a:off x="0" y="2624791"/>
          <a:ext cx="11544581" cy="1552218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D81AE09-A502-4BA6-A153-7D83FFBA1549}">
      <dsp:nvSpPr>
        <dsp:cNvPr id="0" name=""/>
        <dsp:cNvSpPr/>
      </dsp:nvSpPr>
      <dsp:spPr>
        <a:xfrm>
          <a:off x="469546" y="2974041"/>
          <a:ext cx="854554" cy="853720"/>
        </a:xfrm>
        <a:prstGeom prst="rect">
          <a:avLst/>
        </a:prstGeom>
        <a:blipFill>
          <a:blip xmlns:r="http://schemas.openxmlformats.org/officeDocument/2006/relationships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0024BCC-CC46-40A4-8EED-8A40CF38C212}">
      <dsp:nvSpPr>
        <dsp:cNvPr id="0" name=""/>
        <dsp:cNvSpPr/>
      </dsp:nvSpPr>
      <dsp:spPr>
        <a:xfrm>
          <a:off x="1793646" y="2624791"/>
          <a:ext cx="9747426" cy="155373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4437" tIns="164437" rIns="164437" bIns="164437" numCol="1" spcCol="1270" anchor="ctr" anchorCtr="0">
          <a:noAutofit/>
        </a:bodyPr>
        <a:lstStyle/>
        <a:p>
          <a:pPr marL="0" lvl="0" indent="0" algn="l" defTabSz="11557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kern="1200"/>
            <a:t>For questions related to the </a:t>
          </a:r>
          <a:r>
            <a:rPr lang="en-US" sz="2600" b="1" kern="1200"/>
            <a:t>underreported processing change or leaver reporting and documentation requirements</a:t>
          </a:r>
          <a:r>
            <a:rPr lang="en-US" sz="2600" kern="1200"/>
            <a:t>, please contact the Research and Analysis division at </a:t>
          </a:r>
          <a:r>
            <a:rPr lang="en-US" sz="2600" u="sng" kern="1200">
              <a:hlinkClick xmlns:r="http://schemas.openxmlformats.org/officeDocument/2006/relationships" r:id="rId4"/>
            </a:rPr>
            <a:t>research@tea.texas.gov</a:t>
          </a:r>
          <a:endParaRPr lang="en-US" sz="2600" kern="1200"/>
        </a:p>
      </dsp:txBody>
      <dsp:txXfrm>
        <a:off x="1793646" y="2624791"/>
        <a:ext cx="9747426" cy="155373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F6CF23-A4A8-48E2-87BA-4B18747359F1}" type="datetimeFigureOut">
              <a:rPr lang="en-US" smtClean="0"/>
              <a:t>3/30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8A2532C-AE51-49E3-8CD1-9FEEAFEE84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04582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D3C44D-7E74-BA97-A234-583A0D6B98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7203940-C0C7-B177-A473-1CF9005B569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8717601-84B2-253A-11BD-6DB22B23CC3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02ADE4E-C72F-C68A-91E5-AF2D96715E8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85A40BB-771D-4F4F-9CB1-296C9816DA07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11615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A2532C-AE51-49E3-8CD1-9FEEAFEE8407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6511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85A40BB-771D-4F4F-9CB1-296C9816DA07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241379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85A40BB-771D-4F4F-9CB1-296C9816DA07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546484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4BCD173-E5F1-03CB-D4CF-DC1F13C403F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A47B502-814C-5600-6579-E984E05FF54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22C97BA-8FA8-0659-B13C-24C920193B3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D3E50EF-7AB3-D836-9FC7-947E8CB8A8F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8175B2-6CE1-429B-88E3-BC5B50BA24A9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411756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B47442-DA53-AB3B-0D03-31A6C1C304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268CC8E-C75C-A7C6-E1BA-B9C72865BDB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E72A337-ECEA-0ECE-53CD-B2A76E6B633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81DA904-35A3-34DF-4C6E-E53A93CB369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8175B2-6CE1-429B-88E3-BC5B50BA24A9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99660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sv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sv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sv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blue background with a blue square&#10;&#10;Description automatically generated with medium confidence">
            <a:extLst>
              <a:ext uri="{FF2B5EF4-FFF2-40B4-BE49-F238E27FC236}">
                <a16:creationId xmlns:a16="http://schemas.microsoft.com/office/drawing/2014/main" id="{31BB127F-D717-50DE-7E81-66E591CC6B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6042" y="-8225"/>
            <a:ext cx="12207240" cy="5964448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4E995F3D-465F-FCA4-2AA9-05CEFA915E5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458921" y="6093753"/>
            <a:ext cx="1274158" cy="63708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109B168-6DCF-5186-61A7-35924B279AB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58340" y="2323143"/>
            <a:ext cx="8275320" cy="1105857"/>
          </a:xfrm>
          <a:noFill/>
          <a:ln>
            <a:noFill/>
          </a:ln>
        </p:spPr>
        <p:txBody>
          <a:bodyPr anchor="b">
            <a:noAutofit/>
          </a:bodyPr>
          <a:lstStyle>
            <a:lvl1pPr algn="ctr">
              <a:defRPr sz="4800">
                <a:solidFill>
                  <a:schemeClr val="bg1"/>
                </a:solidFill>
                <a:latin typeface="Aptos" panose="020B00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5619684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EC13DC07-AFEC-3B03-D4F5-4C95CA85FDF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" y="414"/>
            <a:ext cx="12192734" cy="6857586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A29BCD6E-C84C-E620-91EF-2764BDE8206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58340" y="3200494"/>
            <a:ext cx="8275320" cy="1105857"/>
          </a:xfrm>
          <a:noFill/>
          <a:ln>
            <a:noFill/>
          </a:ln>
        </p:spPr>
        <p:txBody>
          <a:bodyPr anchor="b">
            <a:noAutofit/>
          </a:bodyPr>
          <a:lstStyle>
            <a:lvl1pPr algn="ctr">
              <a:defRPr sz="4800">
                <a:solidFill>
                  <a:schemeClr val="bg1"/>
                </a:solidFill>
                <a:latin typeface="Aptos" panose="020B00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368470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31BB127F-D717-50DE-7E81-66E591CC6B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6038" y="-8225"/>
            <a:ext cx="12207232" cy="5964446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4E995F3D-465F-FCA4-2AA9-05CEFA915E5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458921" y="6093753"/>
            <a:ext cx="1274158" cy="63708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109B168-6DCF-5186-61A7-35924B279AB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58340" y="4052552"/>
            <a:ext cx="8275320" cy="1105857"/>
          </a:xfrm>
          <a:noFill/>
          <a:ln>
            <a:noFill/>
          </a:ln>
        </p:spPr>
        <p:txBody>
          <a:bodyPr anchor="b">
            <a:noAutofit/>
          </a:bodyPr>
          <a:lstStyle>
            <a:lvl1pPr algn="ctr">
              <a:defRPr sz="4800">
                <a:solidFill>
                  <a:schemeClr val="bg1"/>
                </a:solidFill>
                <a:latin typeface="Aptos" panose="020B00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702917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31BB127F-D717-50DE-7E81-66E591CC6B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6039" y="-8225"/>
            <a:ext cx="12207234" cy="5964447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4E995F3D-465F-FCA4-2AA9-05CEFA915E5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458921" y="6093753"/>
            <a:ext cx="1274158" cy="63708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109B168-6DCF-5186-61A7-35924B279AB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58340" y="4291090"/>
            <a:ext cx="8275320" cy="1105857"/>
          </a:xfrm>
          <a:noFill/>
          <a:ln>
            <a:noFill/>
          </a:ln>
        </p:spPr>
        <p:txBody>
          <a:bodyPr anchor="b">
            <a:noAutofit/>
          </a:bodyPr>
          <a:lstStyle>
            <a:lvl1pPr algn="ctr">
              <a:defRPr sz="4800">
                <a:solidFill>
                  <a:schemeClr val="bg1"/>
                </a:solidFill>
                <a:latin typeface="Aptos" panose="020B00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644787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phic 13">
            <a:extLst>
              <a:ext uri="{FF2B5EF4-FFF2-40B4-BE49-F238E27FC236}">
                <a16:creationId xmlns:a16="http://schemas.microsoft.com/office/drawing/2014/main" id="{C7332E0B-AAE7-7F99-41A0-8219AC19C2C8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/>
        </p:blipFill>
        <p:spPr>
          <a:xfrm>
            <a:off x="6006" y="-14079"/>
            <a:ext cx="2970836" cy="6886157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D3F9C57B-E1F6-79F7-AC5C-788E1B323D5E}"/>
              </a:ext>
            </a:extLst>
          </p:cNvPr>
          <p:cNvSpPr/>
          <p:nvPr userDrawn="1"/>
        </p:nvSpPr>
        <p:spPr>
          <a:xfrm>
            <a:off x="1458747" y="2640026"/>
            <a:ext cx="2025233" cy="1642607"/>
          </a:xfrm>
          <a:prstGeom prst="rect">
            <a:avLst/>
          </a:prstGeom>
          <a:solidFill>
            <a:srgbClr val="F16038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35F915A-2D65-4403-B6A1-FAFF6BE6078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657612" y="2878742"/>
            <a:ext cx="9386446" cy="1100516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4800">
                <a:solidFill>
                  <a:srgbClr val="0D6CB9"/>
                </a:solidFill>
                <a:latin typeface="Aptos" panose="020B00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A9D303A5-46AA-F661-A45F-3A9D12A0DC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86849" y="652912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Aptos" panose="020B0004020202020204" pitchFamily="34" charset="0"/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" name="Picture 5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02257510-B9E9-77C8-FBE0-44DF380ED1A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50228" y="3147905"/>
            <a:ext cx="1274948" cy="6268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73707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34BC11C-8A33-EECC-6AE4-874AFA26967E}"/>
              </a:ext>
            </a:extLst>
          </p:cNvPr>
          <p:cNvSpPr/>
          <p:nvPr userDrawn="1"/>
        </p:nvSpPr>
        <p:spPr>
          <a:xfrm>
            <a:off x="0" y="0"/>
            <a:ext cx="2048719" cy="6857999"/>
          </a:xfrm>
          <a:prstGeom prst="rect">
            <a:avLst/>
          </a:prstGeom>
          <a:solidFill>
            <a:srgbClr val="0D6CB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DA913AB-5A93-9177-853B-252564C6D220}"/>
              </a:ext>
            </a:extLst>
          </p:cNvPr>
          <p:cNvSpPr/>
          <p:nvPr userDrawn="1"/>
        </p:nvSpPr>
        <p:spPr>
          <a:xfrm>
            <a:off x="1354577" y="347241"/>
            <a:ext cx="1319176" cy="1253883"/>
          </a:xfrm>
          <a:prstGeom prst="rect">
            <a:avLst/>
          </a:prstGeom>
          <a:solidFill>
            <a:srgbClr val="F16038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AC905F65-6FA7-1E3D-2B05-00E808E6411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0836" y="761129"/>
            <a:ext cx="866658" cy="42610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35F915A-2D65-4403-B6A1-FAFF6BE6078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916514" y="647076"/>
            <a:ext cx="8647949" cy="679730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4000">
                <a:solidFill>
                  <a:schemeClr val="accent1"/>
                </a:solidFill>
                <a:latin typeface="Aptos" panose="020B00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90A4145-C638-6763-56B7-DB56D7F85C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86849" y="652912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Aptos" panose="020B0004020202020204" pitchFamily="34" charset="0"/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14802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DF908D3E-6929-860C-8364-D47F1B76F59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/>
        </p:blipFill>
        <p:spPr>
          <a:xfrm>
            <a:off x="1" y="-10170"/>
            <a:ext cx="12192132" cy="101601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5469" y="160894"/>
            <a:ext cx="10250362" cy="751350"/>
          </a:xfrm>
        </p:spPr>
        <p:txBody>
          <a:bodyPr>
            <a:normAutofit/>
          </a:bodyPr>
          <a:lstStyle>
            <a:lvl1pPr algn="l">
              <a:defRPr sz="3600" b="0">
                <a:solidFill>
                  <a:schemeClr val="bg1"/>
                </a:solidFill>
                <a:latin typeface="Aptos" panose="020B0004020202020204" pitchFamily="34" charset="0"/>
              </a:defRPr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456EDC-1A10-41B1-8C8A-3A9DA51A43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5468" y="1496253"/>
            <a:ext cx="11544581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  <a:latin typeface="Aptos" panose="020B0004020202020204" pitchFamily="34" charset="0"/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  <a:latin typeface="Aptos" panose="020B0004020202020204" pitchFamily="34" charset="0"/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  <a:latin typeface="Aptos" panose="020B0004020202020204" pitchFamily="34" charset="0"/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  <a:latin typeface="Aptos" panose="020B0004020202020204" pitchFamily="34" charset="0"/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4" name="Picture 13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884B3B1F-4F78-A294-A0CE-5F5AE936FF2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9517" y="303936"/>
            <a:ext cx="1006206" cy="494717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53027CB0-E6C8-8156-8726-C3567C0927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86849" y="652912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Aptos" panose="020B0004020202020204" pitchFamily="34" charset="0"/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71032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DF908D3E-6929-860C-8364-D47F1B76F59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/>
        </p:blipFill>
        <p:spPr>
          <a:xfrm>
            <a:off x="1" y="-10170"/>
            <a:ext cx="12192132" cy="101601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5469" y="160894"/>
            <a:ext cx="10250362" cy="751350"/>
          </a:xfrm>
        </p:spPr>
        <p:txBody>
          <a:bodyPr>
            <a:normAutofit/>
          </a:bodyPr>
          <a:lstStyle>
            <a:lvl1pPr algn="l">
              <a:defRPr sz="3600" b="0">
                <a:solidFill>
                  <a:schemeClr val="bg1"/>
                </a:solidFill>
                <a:latin typeface="Aptos" panose="020B0004020202020204" pitchFamily="34" charset="0"/>
              </a:defRPr>
            </a:lvl1pPr>
          </a:lstStyle>
          <a:p>
            <a:r>
              <a:rPr lang="en-US"/>
              <a:t>Click to add header</a:t>
            </a:r>
          </a:p>
        </p:txBody>
      </p:sp>
      <p:pic>
        <p:nvPicPr>
          <p:cNvPr id="14" name="Picture 13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884B3B1F-4F78-A294-A0CE-5F5AE936FF2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9517" y="303936"/>
            <a:ext cx="1006206" cy="494717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53027CB0-E6C8-8156-8726-C3567C0927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86849" y="652912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Aptos" panose="020B0004020202020204" pitchFamily="34" charset="0"/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08995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31BB127F-D717-50DE-7E81-66E591CC6BD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-16038" y="-8225"/>
            <a:ext cx="12207232" cy="5964446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4E995F3D-465F-FCA4-2AA9-05CEFA915E5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458921" y="6093753"/>
            <a:ext cx="1274158" cy="63708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109B168-6DCF-5186-61A7-35924B279AB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58340" y="2323143"/>
            <a:ext cx="8275320" cy="1105857"/>
          </a:xfrm>
          <a:noFill/>
          <a:ln>
            <a:noFill/>
          </a:ln>
        </p:spPr>
        <p:txBody>
          <a:bodyPr anchor="b">
            <a:noAutofit/>
          </a:bodyPr>
          <a:lstStyle>
            <a:lvl1pPr algn="ctr">
              <a:defRPr sz="4800">
                <a:solidFill>
                  <a:schemeClr val="bg1"/>
                </a:solidFill>
                <a:latin typeface="Aptos" panose="020B00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432686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31BB127F-D717-50DE-7E81-66E591CC6B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6039" y="-8225"/>
            <a:ext cx="12207234" cy="5964447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4E995F3D-465F-FCA4-2AA9-05CEFA915E5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458921" y="6093753"/>
            <a:ext cx="1274158" cy="63708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109B168-6DCF-5186-61A7-35924B279AB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58340" y="2323143"/>
            <a:ext cx="8275320" cy="1105857"/>
          </a:xfrm>
          <a:noFill/>
          <a:ln>
            <a:noFill/>
          </a:ln>
        </p:spPr>
        <p:txBody>
          <a:bodyPr anchor="b">
            <a:noAutofit/>
          </a:bodyPr>
          <a:lstStyle>
            <a:lvl1pPr algn="ctr">
              <a:defRPr sz="4800">
                <a:solidFill>
                  <a:schemeClr val="bg1"/>
                </a:solidFill>
                <a:latin typeface="Aptos" panose="020B00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470075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31BB127F-D717-50DE-7E81-66E591CC6BD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-16039" y="-8225"/>
            <a:ext cx="12207234" cy="5964446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4E995F3D-465F-FCA4-2AA9-05CEFA915E5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458921" y="6093753"/>
            <a:ext cx="1274158" cy="63708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109B168-6DCF-5186-61A7-35924B279AB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58340" y="2323143"/>
            <a:ext cx="8275320" cy="1105857"/>
          </a:xfrm>
          <a:noFill/>
          <a:ln>
            <a:noFill/>
          </a:ln>
        </p:spPr>
        <p:txBody>
          <a:bodyPr anchor="b">
            <a:noAutofit/>
          </a:bodyPr>
          <a:lstStyle>
            <a:lvl1pPr algn="ctr">
              <a:defRPr sz="4800">
                <a:solidFill>
                  <a:schemeClr val="bg1"/>
                </a:solidFill>
                <a:latin typeface="Aptos" panose="020B00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936653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31BB127F-D717-50DE-7E81-66E591CC6B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6039" y="-8225"/>
            <a:ext cx="12207234" cy="5964446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4E995F3D-465F-FCA4-2AA9-05CEFA915E5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458921" y="6093753"/>
            <a:ext cx="1274158" cy="63708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109B168-6DCF-5186-61A7-35924B279AB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58340" y="4052552"/>
            <a:ext cx="8275320" cy="1105857"/>
          </a:xfrm>
          <a:noFill/>
          <a:ln>
            <a:noFill/>
          </a:ln>
        </p:spPr>
        <p:txBody>
          <a:bodyPr anchor="b">
            <a:noAutofit/>
          </a:bodyPr>
          <a:lstStyle>
            <a:lvl1pPr algn="ctr">
              <a:defRPr sz="4800">
                <a:solidFill>
                  <a:schemeClr val="bg1"/>
                </a:solidFill>
                <a:latin typeface="Aptos" panose="020B00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0218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A9A27D14-2446-2B00-8A61-1244EDC602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546647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35" imgH="435" progId="TCLayout.ActiveDocument.1">
                  <p:embed/>
                </p:oleObj>
              </mc:Choice>
              <mc:Fallback>
                <p:oleObj name="think-cell Slide" r:id="rId15" imgW="435" imgH="43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A27D14-2446-2B00-8A61-1244EDC602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8236F96-CFF5-43CD-9E03-D06E3B2A0E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4433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D3C28EB-BCA9-43F7-A9C9-9BC5A31B854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38125" y="653796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467911F-0FB9-4538-A2CE-203712435F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52912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20FB3CC-93E0-4E44-B4B3-9138134000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7953" y="104134"/>
            <a:ext cx="11164188" cy="7513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Header</a:t>
            </a:r>
          </a:p>
        </p:txBody>
      </p:sp>
    </p:spTree>
    <p:extLst>
      <p:ext uri="{BB962C8B-B14F-4D97-AF65-F5344CB8AC3E}">
        <p14:creationId xmlns:p14="http://schemas.microsoft.com/office/powerpoint/2010/main" val="13400089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8" r:id="rId5"/>
    <p:sldLayoutId id="2147483675" r:id="rId6"/>
    <p:sldLayoutId id="2147483674" r:id="rId7"/>
    <p:sldLayoutId id="2147483669" r:id="rId8"/>
    <p:sldLayoutId id="2147483670" r:id="rId9"/>
    <p:sldLayoutId id="2147483671" r:id="rId10"/>
    <p:sldLayoutId id="2147483672" r:id="rId11"/>
    <p:sldLayoutId id="2147483673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bg2"/>
        </a:buClr>
        <a:buFont typeface="Wingdings" panose="05000000000000000000" pitchFamily="2" charset="2"/>
        <a:buChar char="§"/>
        <a:defRPr sz="2800" kern="1200">
          <a:solidFill>
            <a:schemeClr val="bg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Wingdings" panose="05000000000000000000" pitchFamily="2" charset="2"/>
        <a:buChar char="§"/>
        <a:defRPr sz="24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Wingdings" panose="05000000000000000000" pitchFamily="2" charset="2"/>
        <a:buChar char="§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Wingdings" panose="05000000000000000000" pitchFamily="2" charset="2"/>
        <a:buChar char="§"/>
        <a:defRPr sz="18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Wingdings" panose="05000000000000000000" pitchFamily="2" charset="2"/>
        <a:buChar char="§"/>
        <a:defRPr sz="18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svg"/><Relationship Id="rId1" Type="http://schemas.openxmlformats.org/officeDocument/2006/relationships/slideLayout" Target="../slideLayouts/slideLayout1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5.png"/><Relationship Id="rId4" Type="http://schemas.microsoft.com/office/2007/relationships/hdphoto" Target="../media/hdphoto1.wdp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svg"/><Relationship Id="rId2" Type="http://schemas.openxmlformats.org/officeDocument/2006/relationships/hyperlink" Target="https://texasedu-my.sharepoint.com/personal/brittany_wright_tea_texas_gov/_layouts/15/Doc.aspx?sourcedoc=%7B29E1D872-956D-4109-BDA7-75157FFBCEAB%7D&amp;file=Audit%20Request%20for%20Underreported%20Leavers.docx&amp;action=default&amp;mobileredirect=true" TargetMode="Externa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2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8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svg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svg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tiff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tea.texas.gov/about-tea/news-and-multimedia/correspondence/taa-letters/leaver-records-data-validation-updates" TargetMode="External"/><Relationship Id="rId2" Type="http://schemas.openxmlformats.org/officeDocument/2006/relationships/hyperlink" Target="https://www.complaints.tea.texas.gov/en-US/" TargetMode="Externa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2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DCDB2F2-112A-0066-F298-A4EB1CC5C0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58340" y="2361151"/>
            <a:ext cx="8275320" cy="1067849"/>
          </a:xfrm>
        </p:spPr>
        <p:txBody>
          <a:bodyPr/>
          <a:lstStyle/>
          <a:p>
            <a:r>
              <a:rPr lang="en-US" sz="3600"/>
              <a:t>Leaver Reporting and Documentation Requirements and Best Practices</a:t>
            </a:r>
          </a:p>
        </p:txBody>
      </p:sp>
      <p:pic>
        <p:nvPicPr>
          <p:cNvPr id="4" name="Graphic 3" descr="Texas Education Agency">
            <a:extLst>
              <a:ext uri="{FF2B5EF4-FFF2-40B4-BE49-F238E27FC236}">
                <a16:creationId xmlns:a16="http://schemas.microsoft.com/office/drawing/2014/main" id="{C4A5D3A8-B16F-21C7-D8D0-C1CEB3365799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/>
        </p:blipFill>
        <p:spPr>
          <a:xfrm>
            <a:off x="5550571" y="1645045"/>
            <a:ext cx="1090858" cy="530278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B3705F34-4013-C15B-C0B7-4A6366D03D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1507958" y="4714010"/>
            <a:ext cx="9512969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ED4906F-C29A-9C19-39D0-6206456ED4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1622258" y="1910184"/>
            <a:ext cx="3705726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45163B1-FC4D-4D29-FA0E-CEF3614600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7005388" y="1910184"/>
            <a:ext cx="3882189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2">
            <a:extLst>
              <a:ext uri="{FF2B5EF4-FFF2-40B4-BE49-F238E27FC236}">
                <a16:creationId xmlns:a16="http://schemas.microsoft.com/office/drawing/2014/main" id="{23B4AC5F-CCD8-0731-2871-646398E49FEE}"/>
              </a:ext>
            </a:extLst>
          </p:cNvPr>
          <p:cNvSpPr txBox="1">
            <a:spLocks/>
          </p:cNvSpPr>
          <p:nvPr/>
        </p:nvSpPr>
        <p:spPr>
          <a:xfrm>
            <a:off x="1958340" y="3527541"/>
            <a:ext cx="8275320" cy="875168"/>
          </a:xfrm>
          <a:prstGeom prst="rect">
            <a:avLst/>
          </a:prstGeom>
          <a:noFill/>
          <a:ln>
            <a:noFill/>
          </a:ln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bg1"/>
                </a:solidFill>
                <a:latin typeface="Aptos" panose="020B0004020202020204" pitchFamily="34" charset="0"/>
                <a:ea typeface="+mj-ea"/>
                <a:cs typeface="+mj-cs"/>
              </a:defRPr>
            </a:lvl1pPr>
          </a:lstStyle>
          <a:p>
            <a:r>
              <a:rPr lang="en-US" sz="2400"/>
              <a:t>Self-Reported Data Unit</a:t>
            </a:r>
            <a:br>
              <a:rPr lang="en-US" sz="2400"/>
            </a:br>
            <a:r>
              <a:rPr lang="en-US" sz="2400"/>
              <a:t>Office of Governance</a:t>
            </a:r>
          </a:p>
        </p:txBody>
      </p:sp>
    </p:spTree>
    <p:extLst>
      <p:ext uri="{BB962C8B-B14F-4D97-AF65-F5344CB8AC3E}">
        <p14:creationId xmlns:p14="http://schemas.microsoft.com/office/powerpoint/2010/main" val="258238307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00042BB3-9799-E58E-AEA2-E4AB57BD30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50" y="160338"/>
            <a:ext cx="10250488" cy="752475"/>
          </a:xfrm>
        </p:spPr>
        <p:txBody>
          <a:bodyPr/>
          <a:lstStyle/>
          <a:p>
            <a:r>
              <a:rPr lang="en-US" dirty="0"/>
              <a:t>Texas Education Data Standards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5BE437B-08B6-CC74-D1A8-F866D2E1B8D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5468" y="1496253"/>
            <a:ext cx="7309747" cy="4351338"/>
          </a:xfrm>
        </p:spPr>
        <p:txBody>
          <a:bodyPr/>
          <a:lstStyle/>
          <a:p>
            <a:pPr marL="0" indent="0">
              <a:buNone/>
            </a:pPr>
            <a:r>
              <a:rPr lang="en-US" sz="3000" b="1"/>
              <a:t>The </a:t>
            </a:r>
            <a:r>
              <a:rPr lang="en-US" sz="3000" b="1">
                <a:solidFill>
                  <a:schemeClr val="accent2"/>
                </a:solidFill>
              </a:rPr>
              <a:t>PEIMS Leaver Data – Documentation Requirements </a:t>
            </a:r>
            <a:r>
              <a:rPr lang="en-US" sz="3000" b="1"/>
              <a:t>in TWEDS provide:</a:t>
            </a:r>
          </a:p>
          <a:p>
            <a:pPr marL="800100" lvl="1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800"/>
              <a:t>General reporting and documentation requirements</a:t>
            </a:r>
          </a:p>
          <a:p>
            <a:pPr marL="800100" lvl="1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800"/>
              <a:t>Expanded definitions and uses for each </a:t>
            </a:r>
            <a:r>
              <a:rPr lang="en-US" sz="2800" err="1"/>
              <a:t>ExitWithdrawType</a:t>
            </a:r>
            <a:endParaRPr lang="en-US" sz="2800"/>
          </a:p>
          <a:p>
            <a:pPr marL="800100" lvl="1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800"/>
              <a:t>Specific documentation requirements for each </a:t>
            </a:r>
            <a:r>
              <a:rPr lang="en-US" sz="2800" err="1"/>
              <a:t>ExitWithdrawType</a:t>
            </a:r>
            <a:endParaRPr lang="en-US" sz="2800"/>
          </a:p>
          <a:p>
            <a:endParaRPr lang="en-U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1C1B3B9-4545-C188-68E5-CF28268BA17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371655" y="5399313"/>
            <a:ext cx="1397553" cy="1312376"/>
            <a:chOff x="371655" y="4651897"/>
            <a:chExt cx="2188029" cy="2059792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441D9D12-9FF1-A28A-7D62-AD19C321F76D}"/>
                </a:ext>
              </a:extLst>
            </p:cNvPr>
            <p:cNvSpPr/>
            <p:nvPr/>
          </p:nvSpPr>
          <p:spPr>
            <a:xfrm>
              <a:off x="371655" y="4651897"/>
              <a:ext cx="2188029" cy="2059792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E04E40D4-95C6-B8CD-18FD-7013599660E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65261" y="4781385"/>
              <a:ext cx="1800816" cy="1800816"/>
            </a:xfrm>
            <a:prstGeom prst="rect">
              <a:avLst/>
            </a:prstGeom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</p:pic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BB73F35A-DDA5-72CF-00A7-39F0DB72402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8376505" y="2887038"/>
            <a:ext cx="3253301" cy="2099976"/>
            <a:chOff x="8359172" y="2890485"/>
            <a:chExt cx="3664239" cy="2527426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AFE4FBE8-75A4-70BC-DF7A-4F80CE9088A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ackgroundRemoval t="5198" b="92750" l="9976" r="89538">
                          <a14:foregroundMark x1="41849" y1="92202" x2="44039" y2="92886"/>
                          <a14:foregroundMark x1="27494" y1="22435" x2="28224" y2="24077"/>
                          <a14:foregroundMark x1="19221" y1="22845" x2="14599" y2="22709"/>
                          <a14:foregroundMark x1="24088" y1="7250" x2="47445" y2="5198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 rot="18961546">
              <a:off x="8359172" y="2890485"/>
              <a:ext cx="1421028" cy="2527426"/>
            </a:xfrm>
            <a:prstGeom prst="rect">
              <a:avLst/>
            </a:prstGeom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E8EBF2D8-9998-9710-0F7C-810AB044D5B2}"/>
                </a:ext>
              </a:extLst>
            </p:cNvPr>
            <p:cNvSpPr txBox="1"/>
            <p:nvPr/>
          </p:nvSpPr>
          <p:spPr>
            <a:xfrm>
              <a:off x="10265089" y="3784866"/>
              <a:ext cx="175832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>
                  <a:effectLst>
                    <a:outerShdw blurRad="50800" dist="38100" dir="13500000" algn="br" rotWithShape="0">
                      <a:prstClr val="black">
                        <a:alpha val="40000"/>
                      </a:prstClr>
                    </a:outerShdw>
                  </a:effectLst>
                </a:rPr>
                <a:t>Definition</a:t>
              </a:r>
              <a:r>
                <a:rPr lang="en-US" b="1"/>
                <a:t> </a:t>
              </a:r>
            </a:p>
          </p:txBody>
        </p: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74E34BF7-5F9B-F152-7D4C-E75389E491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003156" y="2077068"/>
            <a:ext cx="1397552" cy="3189707"/>
          </a:xfrm>
          <a:prstGeom prst="rect">
            <a:avLst/>
          </a:prstGeom>
          <a:effectLst>
            <a:outerShdw blurRad="76200" dist="12700" dir="8100000" sy="-23000" kx="800400" algn="br" rotWithShape="0">
              <a:prstClr val="black">
                <a:alpha val="20000"/>
              </a:prstClr>
            </a:outerShdw>
          </a:effectLst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A5E209-AB9C-BD41-B592-AACAF9A61C1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9C126A4-BD19-47E2-8A0E-0DE1B9D8C925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627374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66B2E4-7FE4-1ACA-2788-4FA2ADD4D1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469" y="160894"/>
            <a:ext cx="10250362" cy="751350"/>
          </a:xfrm>
        </p:spPr>
        <p:txBody>
          <a:bodyPr anchor="ctr">
            <a:normAutofit/>
          </a:bodyPr>
          <a:lstStyle/>
          <a:p>
            <a:r>
              <a:rPr lang="en-US"/>
              <a:t>Documentation Requirements</a:t>
            </a:r>
          </a:p>
        </p:txBody>
      </p:sp>
      <p:pic>
        <p:nvPicPr>
          <p:cNvPr id="9" name="Picture 8" descr="Stack of papers with paper clips">
            <a:extLst>
              <a:ext uri="{FF2B5EF4-FFF2-40B4-BE49-F238E27FC236}">
                <a16:creationId xmlns:a16="http://schemas.microsoft.com/office/drawing/2014/main" id="{904F21C0-5E4D-663E-60E6-F25C914A3D52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8528" r="41372" b="-2"/>
          <a:stretch>
            <a:fillRect/>
          </a:stretch>
        </p:blipFill>
        <p:spPr>
          <a:xfrm>
            <a:off x="285468" y="1496253"/>
            <a:ext cx="3406224" cy="4351338"/>
          </a:xfrm>
          <a:prstGeom prst="rect">
            <a:avLst/>
          </a:prstGeom>
          <a:noFill/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8E898D-11E0-55FE-1EF3-D4B7BB1B98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2192" y="1496253"/>
            <a:ext cx="7947856" cy="4351338"/>
          </a:xfrm>
        </p:spPr>
        <p:txBody>
          <a:bodyPr>
            <a:normAutofit/>
          </a:bodyPr>
          <a:lstStyle/>
          <a:p>
            <a:pPr marL="0" indent="0">
              <a:spcAft>
                <a:spcPts val="1200"/>
              </a:spcAft>
              <a:buNone/>
            </a:pPr>
            <a:r>
              <a:rPr lang="en-US" sz="3200" b="1"/>
              <a:t>Supporting Documentation must be: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en-US" sz="3000"/>
              <a:t>Reflective of the reported leaver reason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en-US" sz="3000"/>
              <a:t>Timely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en-US" sz="3000"/>
              <a:t>Written (even oral statements)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en-US" sz="3000"/>
              <a:t>Signed and dated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en-US" sz="3000"/>
              <a:t>From an appropriate source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en-US" sz="3000"/>
              <a:t>Maintained on fi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646D834-0CD4-1B24-17ED-9E06DAA3BC1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86849" y="6529126"/>
            <a:ext cx="2743200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69C126A4-BD19-47E2-8A0E-0DE1B9D8C925}" type="slidenum">
              <a:rPr lang="en-US" smtClean="0"/>
              <a:pPr>
                <a:spcAft>
                  <a:spcPts val="600"/>
                </a:spcAft>
              </a:pPr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985093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77D5CC-C6B5-19CA-A3D8-2A89E62270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75BE93-D145-FA74-7412-5CB966FB516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637064" y="2878742"/>
            <a:ext cx="9386446" cy="1100516"/>
          </a:xfrm>
        </p:spPr>
        <p:txBody>
          <a:bodyPr/>
          <a:lstStyle/>
          <a:p>
            <a:r>
              <a:rPr lang="en-US"/>
              <a:t>Compliance Review Finding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9A67BFA-C29F-F6E7-DFF5-8C26F99F160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9C126A4-BD19-47E2-8A0E-0DE1B9D8C925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691457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8EE123-95EC-C229-B41A-D0F5806B00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90A2F1-7776-9241-AB7A-4A110D3AB9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469" y="160894"/>
            <a:ext cx="10250362" cy="751350"/>
          </a:xfrm>
        </p:spPr>
        <p:txBody>
          <a:bodyPr anchor="ctr">
            <a:normAutofit/>
          </a:bodyPr>
          <a:lstStyle/>
          <a:p>
            <a:r>
              <a:rPr lang="en-US"/>
              <a:t>Common Documentation Issues (Roadblocks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D331B58-464A-CB44-0098-988D5151F7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86849" y="6529126"/>
            <a:ext cx="2743200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69C126A4-BD19-47E2-8A0E-0DE1B9D8C925}" type="slidenum">
              <a:rPr lang="en-US" smtClean="0"/>
              <a:pPr>
                <a:spcAft>
                  <a:spcPts val="600"/>
                </a:spcAft>
              </a:pPr>
              <a:t>13</a:t>
            </a:fld>
            <a:endParaRPr lang="en-US"/>
          </a:p>
        </p:txBody>
      </p:sp>
      <p:pic>
        <p:nvPicPr>
          <p:cNvPr id="17" name="Picture 16" descr="Common documentation issues.">
            <a:extLst>
              <a:ext uri="{FF2B5EF4-FFF2-40B4-BE49-F238E27FC236}">
                <a16:creationId xmlns:a16="http://schemas.microsoft.com/office/drawing/2014/main" id="{3C098E51-5A93-9F63-B41F-D340E5DE8E9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759" y="1084141"/>
            <a:ext cx="12150482" cy="57738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276268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8F2CFE-0FB6-478B-9E7A-1E883414F1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mmon Reporting Issues</a:t>
            </a:r>
          </a:p>
        </p:txBody>
      </p:sp>
      <p:pic>
        <p:nvPicPr>
          <p:cNvPr id="6" name="Picture 5" descr="Common reporting issues.">
            <a:extLst>
              <a:ext uri="{FF2B5EF4-FFF2-40B4-BE49-F238E27FC236}">
                <a16:creationId xmlns:a16="http://schemas.microsoft.com/office/drawing/2014/main" id="{99E02120-A61E-06DF-DF15-A7C0DFFDDA6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003363"/>
            <a:ext cx="12192000" cy="5809753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A03FFD2-D81A-04F4-07CE-201EEC8DC74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9C126A4-BD19-47E2-8A0E-0DE1B9D8C925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972868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64293A-368D-6CAC-5BFC-EE76405DE3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469" y="160894"/>
            <a:ext cx="10250362" cy="751350"/>
          </a:xfrm>
        </p:spPr>
        <p:txBody>
          <a:bodyPr>
            <a:normAutofit fontScale="90000"/>
          </a:bodyPr>
          <a:lstStyle/>
          <a:p>
            <a:r>
              <a:rPr lang="en-US"/>
              <a:t>Other Issues Across Frequently Reported Leaver Reason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621F26-37E4-A74F-D72C-30308D7760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77889" y="6514543"/>
            <a:ext cx="2743200" cy="365125"/>
          </a:xfrm>
        </p:spPr>
        <p:txBody>
          <a:bodyPr/>
          <a:lstStyle/>
          <a:p>
            <a:fld id="{69C126A4-BD19-47E2-8A0E-0DE1B9D8C925}" type="slidenum">
              <a:rPr lang="en-US" smtClean="0"/>
              <a:pPr/>
              <a:t>15</a:t>
            </a:fld>
            <a:endParaRPr lang="en-US"/>
          </a:p>
        </p:txBody>
      </p:sp>
      <p:pic>
        <p:nvPicPr>
          <p:cNvPr id="10" name="Picture 9" descr="Other issues across frequently reported leaver reasons.">
            <a:extLst>
              <a:ext uri="{FF2B5EF4-FFF2-40B4-BE49-F238E27FC236}">
                <a16:creationId xmlns:a16="http://schemas.microsoft.com/office/drawing/2014/main" id="{9190C089-F729-8AD1-BB9A-762DE9E2DC3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276" y="1032554"/>
            <a:ext cx="12035813" cy="5769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936555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59F8CA-1E58-948D-4E3A-FFB392F6CD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EAA51F-5847-9E31-875D-3573A0864D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469" y="160894"/>
            <a:ext cx="10250362" cy="751350"/>
          </a:xfrm>
        </p:spPr>
        <p:txBody>
          <a:bodyPr>
            <a:normAutofit fontScale="90000"/>
          </a:bodyPr>
          <a:lstStyle/>
          <a:p>
            <a:r>
              <a:rPr lang="en-US" dirty="0"/>
              <a:t>Other Issues Across Frequently Reported Leaver Reasons </a:t>
            </a:r>
          </a:p>
        </p:txBody>
      </p:sp>
      <p:pic>
        <p:nvPicPr>
          <p:cNvPr id="6" name="Picture 5" descr="Additional issues across frequently reported leaver reasons.">
            <a:extLst>
              <a:ext uri="{FF2B5EF4-FFF2-40B4-BE49-F238E27FC236}">
                <a16:creationId xmlns:a16="http://schemas.microsoft.com/office/drawing/2014/main" id="{19A333BD-F7E0-1B79-2EBD-35AF8D25E26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972" y="1100868"/>
            <a:ext cx="12050055" cy="5757132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31F5B7-6D24-3D99-23DD-55A283F33E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19429" y="6514543"/>
            <a:ext cx="2743200" cy="365125"/>
          </a:xfrm>
        </p:spPr>
        <p:txBody>
          <a:bodyPr/>
          <a:lstStyle/>
          <a:p>
            <a:fld id="{69C126A4-BD19-47E2-8A0E-0DE1B9D8C925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356548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C729A0-2F32-B5DD-D8DF-9DD7A843CD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Online Program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1C52751-F26F-702D-48D4-128DEA33BAC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5468" y="1263721"/>
            <a:ext cx="11544581" cy="4304872"/>
          </a:xfrm>
        </p:spPr>
        <p:txBody>
          <a:bodyPr/>
          <a:lstStyle/>
          <a:p>
            <a:pPr marL="0" indent="0">
              <a:buNone/>
            </a:pPr>
            <a:r>
              <a:rPr lang="en-US" sz="3200"/>
              <a:t>When trying to determine whether an online program is a private school vs. home school, review the website to see:</a:t>
            </a:r>
          </a:p>
          <a:p>
            <a:pPr lvl="1"/>
            <a:r>
              <a:rPr lang="en-US" sz="2600"/>
              <a:t>Does the program have instructors, instructional materials, and an academic calendar? </a:t>
            </a:r>
          </a:p>
          <a:p>
            <a:pPr lvl="1"/>
            <a:r>
              <a:rPr lang="en-US" sz="2600"/>
              <a:t>Does the program have an established curriculum and/or a required number of credits?</a:t>
            </a:r>
          </a:p>
          <a:p>
            <a:pPr lvl="1"/>
            <a:r>
              <a:rPr lang="en-US" sz="2600"/>
              <a:t>Does the program mention “homeschool” (not necessarily “school at home”) and/or does it emphasize parental involvement?</a:t>
            </a:r>
          </a:p>
          <a:p>
            <a:pPr lvl="1"/>
            <a:r>
              <a:rPr lang="en-US" sz="2600"/>
              <a:t>Is the diploma offered by the school similar to one offered by a Texas public school and sufficient to pursue post-secondary education? </a:t>
            </a:r>
          </a:p>
          <a:p>
            <a:pPr marL="457200" lvl="1" indent="0">
              <a:buNone/>
            </a:pPr>
            <a:endParaRPr lang="en-US" sz="1200" b="1">
              <a:solidFill>
                <a:schemeClr val="accent2"/>
              </a:solidFill>
            </a:endParaRPr>
          </a:p>
          <a:p>
            <a:pPr marL="457200" lvl="1" indent="0" algn="ctr">
              <a:buNone/>
            </a:pPr>
            <a:r>
              <a:rPr lang="en-US" sz="2600" b="1">
                <a:solidFill>
                  <a:schemeClr val="accent2"/>
                </a:solidFill>
              </a:rPr>
              <a:t>Students who enroll in a Texas public school virtual program will be identified by TEA as movers, not leaver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BCB11A5-3E56-CF17-944F-D8F0F426BF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9C126A4-BD19-47E2-8A0E-0DE1B9D8C925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569127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0B8C12-CE3E-6B01-0CCF-9CF55E5D4C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1543F4-A321-904E-125D-78679412DBB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637064" y="2878742"/>
            <a:ext cx="9386446" cy="1100516"/>
          </a:xfrm>
        </p:spPr>
        <p:txBody>
          <a:bodyPr/>
          <a:lstStyle/>
          <a:p>
            <a:r>
              <a:rPr lang="en-US"/>
              <a:t>Leaver Reporting Processing Chang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134BE49-EB89-77ED-7CBF-97386327446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9C126A4-BD19-47E2-8A0E-0DE1B9D8C925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843431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190F51-B7DE-E08F-AF6D-C5A8A0DB21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Backgroun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A5663C-4ECD-C263-91EA-39638986FAF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5469" y="1496253"/>
            <a:ext cx="9115386" cy="4351338"/>
          </a:xfrm>
        </p:spPr>
        <p:txBody>
          <a:bodyPr/>
          <a:lstStyle/>
          <a:p>
            <a:pPr lvl="0" defTabSz="457200">
              <a:lnSpc>
                <a:spcPct val="10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en-US">
                <a:latin typeface="Aptos"/>
              </a:rPr>
              <a:t>LEAs are required to report the reason for withdrawal for students who leave the Texas public school system</a:t>
            </a:r>
          </a:p>
          <a:p>
            <a:pPr lvl="0" defTabSz="457200">
              <a:lnSpc>
                <a:spcPct val="10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Char char="•"/>
              <a:defRPr/>
            </a:pPr>
            <a:endParaRPr lang="en-US">
              <a:latin typeface="Aptos"/>
            </a:endParaRPr>
          </a:p>
          <a:p>
            <a:pPr lvl="0" defTabSz="457200">
              <a:lnSpc>
                <a:spcPct val="10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en-US"/>
              <a:t>When students are not reported as required (i.e., underreported), they may not be actively recovered and re-enrolled </a:t>
            </a:r>
          </a:p>
          <a:p>
            <a:pPr lvl="0" defTabSz="457200">
              <a:lnSpc>
                <a:spcPct val="10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Char char="•"/>
              <a:defRPr/>
            </a:pPr>
            <a:endParaRPr lang="en-US"/>
          </a:p>
          <a:p>
            <a:pPr lvl="0" defTabSz="457200">
              <a:lnSpc>
                <a:spcPct val="10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en-US"/>
              <a:t>Additionally, there are implications for graduation and dropout rate calculations used in the state accountability system</a:t>
            </a:r>
            <a:endParaRPr lang="en-US">
              <a:latin typeface="Aptos"/>
            </a:endParaRPr>
          </a:p>
          <a:p>
            <a:pPr lvl="0" defTabSz="457200">
              <a:lnSpc>
                <a:spcPct val="10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Char char="•"/>
              <a:defRPr/>
            </a:pPr>
            <a:endParaRPr lang="en-US">
              <a:latin typeface="Aptos"/>
            </a:endParaRPr>
          </a:p>
          <a:p>
            <a:pPr lvl="0" defTabSz="457200">
              <a:lnSpc>
                <a:spcPct val="10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Char char="•"/>
              <a:defRPr/>
            </a:pPr>
            <a:endParaRPr lang="en-US">
              <a:latin typeface="Aptos"/>
              <a:hlinkClick r:id="rId2" tooltip="Audit Request for Underreported Leavers.docx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pPr marL="0" indent="0">
              <a:spcBef>
                <a:spcPts val="2500"/>
              </a:spcBef>
              <a:buFont typeface="Arial" panose="020B0604020202020204" pitchFamily="34" charset="0"/>
              <a:buNone/>
            </a:pPr>
            <a:endParaRPr lang="en-US"/>
          </a:p>
        </p:txBody>
      </p:sp>
      <p:pic>
        <p:nvPicPr>
          <p:cNvPr id="6" name="Graphic 5" descr="School boy with solid fill">
            <a:extLst>
              <a:ext uri="{FF2B5EF4-FFF2-40B4-BE49-F238E27FC236}">
                <a16:creationId xmlns:a16="http://schemas.microsoft.com/office/drawing/2014/main" id="{9F3378B3-7000-7A97-7C1B-C0DAE0654080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534630" y="3161866"/>
            <a:ext cx="1847635" cy="1847635"/>
          </a:xfrm>
          <a:prstGeom prst="rect">
            <a:avLst/>
          </a:prstGeom>
        </p:spPr>
      </p:pic>
      <p:pic>
        <p:nvPicPr>
          <p:cNvPr id="10" name="Graphic 9" descr="Question Mark with solid fill">
            <a:extLst>
              <a:ext uri="{FF2B5EF4-FFF2-40B4-BE49-F238E27FC236}">
                <a16:creationId xmlns:a16="http://schemas.microsoft.com/office/drawing/2014/main" id="{3DAC5ABE-9770-ECBF-D9B2-551743ABAE36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086849" y="3594516"/>
            <a:ext cx="914400" cy="914400"/>
          </a:xfrm>
          <a:prstGeom prst="rect">
            <a:avLst/>
          </a:prstGeom>
        </p:spPr>
      </p:pic>
      <p:pic>
        <p:nvPicPr>
          <p:cNvPr id="8" name="Graphic 7" descr="Question Mark with solid fill">
            <a:extLst>
              <a:ext uri="{FF2B5EF4-FFF2-40B4-BE49-F238E27FC236}">
                <a16:creationId xmlns:a16="http://schemas.microsoft.com/office/drawing/2014/main" id="{793288B1-C187-1F60-4748-5850135FB513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001247" y="2349085"/>
            <a:ext cx="914400" cy="914400"/>
          </a:xfrm>
          <a:prstGeom prst="rect">
            <a:avLst/>
          </a:prstGeom>
        </p:spPr>
      </p:pic>
      <p:pic>
        <p:nvPicPr>
          <p:cNvPr id="9" name="Graphic 8" descr="Question Mark with solid fill">
            <a:extLst>
              <a:ext uri="{FF2B5EF4-FFF2-40B4-BE49-F238E27FC236}">
                <a16:creationId xmlns:a16="http://schemas.microsoft.com/office/drawing/2014/main" id="{02528470-3428-795F-54CA-33031B181355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42016" y="3594516"/>
            <a:ext cx="914400" cy="914400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775BA3A-FF99-A3EE-93DF-E31694A5EE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9C126A4-BD19-47E2-8A0E-0DE1B9D8C925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87913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802532-5904-76E2-689F-501A41CBD0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F03C5ED-3794-5BF0-9DCA-40D5CE61379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60615" y="268402"/>
            <a:ext cx="8275320" cy="888534"/>
          </a:xfrm>
        </p:spPr>
        <p:txBody>
          <a:bodyPr/>
          <a:lstStyle/>
          <a:p>
            <a:r>
              <a:rPr lang="en-US"/>
              <a:t>Today’s Presenters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D3513852-B396-359B-EF3A-7716B12FB3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194619" y="1425242"/>
            <a:ext cx="4012303" cy="3574414"/>
          </a:xfrm>
          <a:prstGeom prst="roundRect">
            <a:avLst/>
          </a:prstGeom>
          <a:solidFill>
            <a:schemeClr val="accent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Picture of Dr. Brittany Wright">
            <a:extLst>
              <a:ext uri="{FF2B5EF4-FFF2-40B4-BE49-F238E27FC236}">
                <a16:creationId xmlns:a16="http://schemas.microsoft.com/office/drawing/2014/main" id="{995336FD-1990-4DA0-F0B9-814F63ED3DE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04478" y="1702615"/>
            <a:ext cx="1782502" cy="1828800"/>
          </a:xfrm>
          <a:prstGeom prst="rect">
            <a:avLst/>
          </a:prstGeo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2317D92F-F15C-0464-180A-1598518F7396}"/>
              </a:ext>
            </a:extLst>
          </p:cNvPr>
          <p:cNvSpPr txBox="1"/>
          <p:nvPr/>
        </p:nvSpPr>
        <p:spPr>
          <a:xfrm>
            <a:off x="1323879" y="3665371"/>
            <a:ext cx="3942734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200" b="1">
                <a:solidFill>
                  <a:schemeClr val="bg1"/>
                </a:solidFill>
              </a:rPr>
              <a:t>Dr. Brittany Wright</a:t>
            </a:r>
          </a:p>
          <a:p>
            <a:pPr algn="ctr"/>
            <a:endParaRPr lang="en-US" sz="1200" b="1">
              <a:solidFill>
                <a:schemeClr val="bg1"/>
              </a:solidFill>
            </a:endParaRPr>
          </a:p>
          <a:p>
            <a:pPr algn="ctr"/>
            <a:r>
              <a:rPr lang="en-US" sz="1600" i="1">
                <a:solidFill>
                  <a:schemeClr val="bg1"/>
                </a:solidFill>
              </a:rPr>
              <a:t>Principal Director</a:t>
            </a:r>
          </a:p>
          <a:p>
            <a:pPr algn="ctr"/>
            <a:r>
              <a:rPr lang="en-US" sz="1600" i="1">
                <a:solidFill>
                  <a:schemeClr val="bg1"/>
                </a:solidFill>
              </a:rPr>
              <a:t>Self-Reported Data Unit</a:t>
            </a:r>
            <a:endParaRPr lang="en-US" sz="160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7C99DFE1-841C-972C-BE7C-B0DB7120C3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650601" y="1425242"/>
            <a:ext cx="3942734" cy="3574414"/>
          </a:xfrm>
          <a:prstGeom prst="roundRect">
            <a:avLst/>
          </a:prstGeom>
          <a:solidFill>
            <a:schemeClr val="accent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 descr="Picture of Stephanie Reis">
            <a:extLst>
              <a:ext uri="{FF2B5EF4-FFF2-40B4-BE49-F238E27FC236}">
                <a16:creationId xmlns:a16="http://schemas.microsoft.com/office/drawing/2014/main" id="{00B2ED3C-7D79-F3C2-5FDD-2CA549215D99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5242" r="3433" b="25597"/>
          <a:stretch>
            <a:fillRect/>
          </a:stretch>
        </p:blipFill>
        <p:spPr>
          <a:xfrm>
            <a:off x="7751094" y="1702615"/>
            <a:ext cx="1741749" cy="1828800"/>
          </a:xfrm>
          <a:prstGeom prst="rect">
            <a:avLst/>
          </a:prstGeo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B302C7E2-5262-BC5E-2D9D-DC54D75328B4}"/>
              </a:ext>
            </a:extLst>
          </p:cNvPr>
          <p:cNvSpPr txBox="1"/>
          <p:nvPr/>
        </p:nvSpPr>
        <p:spPr>
          <a:xfrm>
            <a:off x="6710292" y="3665371"/>
            <a:ext cx="3849943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200" b="1">
                <a:solidFill>
                  <a:schemeClr val="bg1"/>
                </a:solidFill>
              </a:rPr>
              <a:t>Stephanie Reis</a:t>
            </a:r>
          </a:p>
          <a:p>
            <a:pPr algn="ctr"/>
            <a:endParaRPr lang="en-US" sz="1400" b="1">
              <a:solidFill>
                <a:schemeClr val="bg1"/>
              </a:solidFill>
            </a:endParaRPr>
          </a:p>
          <a:p>
            <a:pPr algn="ctr"/>
            <a:r>
              <a:rPr lang="en-US" sz="1600" i="1">
                <a:solidFill>
                  <a:schemeClr val="bg1"/>
                </a:solidFill>
              </a:rPr>
              <a:t>Annual Data Validation Supervisor</a:t>
            </a:r>
          </a:p>
          <a:p>
            <a:pPr algn="ctr"/>
            <a:r>
              <a:rPr lang="en-US" sz="1600" i="1">
                <a:solidFill>
                  <a:schemeClr val="bg1"/>
                </a:solidFill>
              </a:rPr>
              <a:t>Self-Reported Data Unit </a:t>
            </a:r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172615636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B663BC-84C2-D632-D9B6-C19B25C237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469" y="160894"/>
            <a:ext cx="10250362" cy="751350"/>
          </a:xfrm>
        </p:spPr>
        <p:txBody>
          <a:bodyPr anchor="ctr">
            <a:normAutofit/>
          </a:bodyPr>
          <a:lstStyle/>
          <a:p>
            <a:r>
              <a:rPr lang="en-US"/>
              <a:t>Policy Change</a:t>
            </a:r>
          </a:p>
        </p:txBody>
      </p:sp>
      <p:pic>
        <p:nvPicPr>
          <p:cNvPr id="6" name="Graphic 5" descr="Megaphone1 with solid fill">
            <a:extLst>
              <a:ext uri="{FF2B5EF4-FFF2-40B4-BE49-F238E27FC236}">
                <a16:creationId xmlns:a16="http://schemas.microsoft.com/office/drawing/2014/main" id="{07FE690E-2CCF-EA69-8E3D-C24A320FBC40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285468" y="1968810"/>
            <a:ext cx="3406224" cy="3406224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D181A2-9118-17BA-C503-4107C57D492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2193" y="2188396"/>
            <a:ext cx="7947856" cy="2589088"/>
          </a:xfrm>
        </p:spPr>
        <p:txBody>
          <a:bodyPr>
            <a:normAutofit lnSpcReduction="10000"/>
          </a:bodyPr>
          <a:lstStyle/>
          <a:p>
            <a:pPr marL="0" indent="0" defTabSz="457200">
              <a:spcBef>
                <a:spcPts val="0"/>
              </a:spcBef>
              <a:buSzPct val="100000"/>
              <a:buNone/>
              <a:defRPr/>
            </a:pPr>
            <a:endParaRPr lang="en-US"/>
          </a:p>
          <a:p>
            <a:pPr marL="0" lvl="0" indent="0" defTabSz="457200">
              <a:spcBef>
                <a:spcPts val="0"/>
              </a:spcBef>
              <a:buSzPct val="100000"/>
              <a:buNone/>
              <a:defRPr/>
            </a:pPr>
            <a:r>
              <a:rPr lang="en-US" sz="3200"/>
              <a:t>To address this non-compliance, </a:t>
            </a:r>
            <a:r>
              <a:rPr lang="en-US" sz="3200" b="1"/>
              <a:t>TEA will begin defaulting any missing required leaver records to </a:t>
            </a:r>
            <a:r>
              <a:rPr lang="en-US" sz="3200" b="1" err="1"/>
              <a:t>ExitWithdrawType</a:t>
            </a:r>
            <a:r>
              <a:rPr lang="en-US" sz="3200" b="1"/>
              <a:t> '98' </a:t>
            </a:r>
            <a:r>
              <a:rPr lang="en-US" sz="3200"/>
              <a:t>(</a:t>
            </a:r>
            <a:r>
              <a:rPr lang="en-US" sz="3200" i="1"/>
              <a:t>Other – reason unknown or not listed above</a:t>
            </a:r>
            <a:r>
              <a:rPr lang="en-US" sz="3200"/>
              <a:t>) starting with 2026-27 annual leavers</a:t>
            </a:r>
          </a:p>
          <a:p>
            <a:pPr lvl="0" defTabSz="457200">
              <a:spcBef>
                <a:spcPts val="0"/>
              </a:spcBef>
              <a:buSzPct val="100000"/>
              <a:buFont typeface="Arial" panose="020B0604020202020204" pitchFamily="34" charset="0"/>
              <a:buChar char="•"/>
              <a:defRPr/>
            </a:pPr>
            <a:endParaRPr lang="en-US"/>
          </a:p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511FD3B-7B11-A25C-4288-F0977E361C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86849" y="6529126"/>
            <a:ext cx="2743200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69C126A4-BD19-47E2-8A0E-0DE1B9D8C925}" type="slidenum">
              <a:rPr lang="en-US" smtClean="0"/>
              <a:pPr>
                <a:spcAft>
                  <a:spcPts val="600"/>
                </a:spcAft>
              </a:pPr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000800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AFDF6A-C37E-F576-540A-E4B4A64FBD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mpact on State Accountabilit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A50BCDB-10B2-A43D-27C1-D033D69198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5468" y="1496253"/>
            <a:ext cx="11544581" cy="3373698"/>
          </a:xfrm>
        </p:spPr>
        <p:txBody>
          <a:bodyPr/>
          <a:lstStyle/>
          <a:p>
            <a:r>
              <a:rPr lang="en-US"/>
              <a:t>This change will be reflected in the </a:t>
            </a:r>
            <a:r>
              <a:rPr lang="en-US" b="1">
                <a:solidFill>
                  <a:schemeClr val="accent2"/>
                </a:solidFill>
              </a:rPr>
              <a:t>2028 state accountability system </a:t>
            </a:r>
            <a:r>
              <a:rPr lang="en-US"/>
              <a:t>and will be applied to: </a:t>
            </a:r>
          </a:p>
          <a:p>
            <a:pPr lvl="1"/>
            <a:r>
              <a:rPr lang="en-US" sz="2800"/>
              <a:t>2026-27 annual dropouts</a:t>
            </a:r>
          </a:p>
          <a:p>
            <a:pPr lvl="1"/>
            <a:r>
              <a:rPr lang="en-US" sz="2800"/>
              <a:t>Class of 2027 four-year cohort</a:t>
            </a:r>
          </a:p>
          <a:p>
            <a:pPr lvl="1"/>
            <a:r>
              <a:rPr lang="en-US" sz="2800"/>
              <a:t>Class of 2026 five-year cohort</a:t>
            </a:r>
          </a:p>
          <a:p>
            <a:pPr lvl="1"/>
            <a:r>
              <a:rPr lang="en-US" sz="2800"/>
              <a:t>Class of 2025 six-year cohort</a:t>
            </a:r>
          </a:p>
          <a:p>
            <a:pPr lvl="1"/>
            <a:endParaRPr lang="en-US" sz="2800"/>
          </a:p>
        </p:txBody>
      </p:sp>
      <p:pic>
        <p:nvPicPr>
          <p:cNvPr id="6" name="Graphic 5" descr="Warning with solid fill">
            <a:extLst>
              <a:ext uri="{FF2B5EF4-FFF2-40B4-BE49-F238E27FC236}">
                <a16:creationId xmlns:a16="http://schemas.microsoft.com/office/drawing/2014/main" id="{72CCEBFD-6D69-6A33-9C3F-CB4E088D9877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288396" y="4957724"/>
            <a:ext cx="1115611" cy="111561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CD2EB6D1-3C8D-96C3-54D2-70C553420AB4}"/>
              </a:ext>
            </a:extLst>
          </p:cNvPr>
          <p:cNvSpPr txBox="1"/>
          <p:nvPr/>
        </p:nvSpPr>
        <p:spPr>
          <a:xfrm>
            <a:off x="1496474" y="5038475"/>
            <a:ext cx="9969486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sz="2800" b="1">
                <a:solidFill>
                  <a:schemeClr val="accent2"/>
                </a:solidFill>
              </a:rPr>
              <a:t>This processing change impacts future data submissions </a:t>
            </a:r>
            <a:r>
              <a:rPr lang="en-US" sz="2800" b="1" i="1">
                <a:solidFill>
                  <a:schemeClr val="accent2"/>
                </a:solidFill>
              </a:rPr>
              <a:t>and</a:t>
            </a:r>
            <a:r>
              <a:rPr lang="en-US" sz="2800" b="1">
                <a:solidFill>
                  <a:schemeClr val="accent2"/>
                </a:solidFill>
              </a:rPr>
              <a:t> data that have already been reported to the agenc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F1ADA2-8640-5466-2817-3575EEE3DC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9C126A4-BD19-47E2-8A0E-0DE1B9D8C925}" type="slidenum">
              <a:rPr lang="en-US" smtClean="0"/>
              <a:pPr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898431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B27D33-D9A7-6DF8-3C07-68FA085D3D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469" y="160894"/>
            <a:ext cx="10250362" cy="751350"/>
          </a:xfrm>
        </p:spPr>
        <p:txBody>
          <a:bodyPr anchor="ctr">
            <a:normAutofit/>
          </a:bodyPr>
          <a:lstStyle/>
          <a:p>
            <a:r>
              <a:rPr lang="en-US"/>
              <a:t>Appeal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D15EC3-B462-4F1F-8D75-3496B77B22D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5468" y="1496253"/>
            <a:ext cx="7947856" cy="4351338"/>
          </a:xfrm>
        </p:spPr>
        <p:txBody>
          <a:bodyPr>
            <a:normAutofit lnSpcReduction="10000"/>
          </a:bodyPr>
          <a:lstStyle/>
          <a:p>
            <a:r>
              <a:rPr lang="en-US" sz="3200"/>
              <a:t>Since this change may impact accountability ratings, an LEA will have the opportunity to </a:t>
            </a:r>
            <a:r>
              <a:rPr lang="en-US" sz="3200" b="1"/>
              <a:t>submit an appeal</a:t>
            </a:r>
          </a:p>
          <a:p>
            <a:endParaRPr lang="en-US" sz="3200"/>
          </a:p>
          <a:p>
            <a:r>
              <a:rPr lang="en-US" sz="3200"/>
              <a:t>When submitting an appeal, an LEA </a:t>
            </a:r>
            <a:r>
              <a:rPr lang="en-US" sz="3200" b="1">
                <a:solidFill>
                  <a:schemeClr val="accent2"/>
                </a:solidFill>
              </a:rPr>
              <a:t>must be able to provide the required supporting documentation</a:t>
            </a:r>
            <a:r>
              <a:rPr lang="en-US" sz="3200">
                <a:solidFill>
                  <a:schemeClr val="accent2"/>
                </a:solidFill>
              </a:rPr>
              <a:t> </a:t>
            </a:r>
            <a:r>
              <a:rPr lang="en-US" sz="3200"/>
              <a:t>outlined in TWEDS to validate that these students should </a:t>
            </a:r>
            <a:r>
              <a:rPr lang="en-US" sz="3200" u="sng"/>
              <a:t>not</a:t>
            </a:r>
            <a:r>
              <a:rPr lang="en-US" sz="3200"/>
              <a:t> be classified as </a:t>
            </a:r>
            <a:r>
              <a:rPr lang="en-US" sz="3200" i="1" err="1"/>
              <a:t>ExitWithdrawType</a:t>
            </a:r>
            <a:r>
              <a:rPr lang="en-US" sz="3200"/>
              <a:t> ‘98’</a:t>
            </a:r>
          </a:p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B2E3B0-E1E1-9822-3512-D2EB76EA27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86849" y="6529126"/>
            <a:ext cx="2743200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69C126A4-BD19-47E2-8A0E-0DE1B9D8C925}" type="slidenum">
              <a:rPr lang="en-US" smtClean="0"/>
              <a:pPr>
                <a:spcAft>
                  <a:spcPts val="600"/>
                </a:spcAft>
              </a:pPr>
              <a:t>22</a:t>
            </a:fld>
            <a:endParaRPr lang="en-US"/>
          </a:p>
        </p:txBody>
      </p:sp>
      <p:pic>
        <p:nvPicPr>
          <p:cNvPr id="6" name="Picture 5" descr="Pen placed on top of a signature line">
            <a:extLst>
              <a:ext uri="{FF2B5EF4-FFF2-40B4-BE49-F238E27FC236}">
                <a16:creationId xmlns:a16="http://schemas.microsoft.com/office/drawing/2014/main" id="{D2F98ECB-DEAD-C2FD-009D-2682ABB05FE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9690" r="38057" b="-1"/>
          <a:stretch>
            <a:fillRect/>
          </a:stretch>
        </p:blipFill>
        <p:spPr>
          <a:xfrm>
            <a:off x="8423825" y="1545016"/>
            <a:ext cx="3406224" cy="435133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32574221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EAAC59-51D8-C3ED-23C3-5052ABE934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E7D0B8-348B-1741-0BE2-D1ECC871FD0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565145" y="2792002"/>
            <a:ext cx="9386446" cy="1100516"/>
          </a:xfrm>
        </p:spPr>
        <p:txBody>
          <a:bodyPr/>
          <a:lstStyle/>
          <a:p>
            <a:r>
              <a:rPr lang="en-US"/>
              <a:t>Recommended Local Actions   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07DBC39-0105-8F38-B083-D34F93676C1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9C126A4-BD19-47E2-8A0E-0DE1B9D8C925}" type="slidenum">
              <a:rPr lang="en-US" smtClean="0"/>
              <a:pPr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145113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2DD288-BA17-75E2-ECFD-CAB0B2AC27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469" y="160894"/>
            <a:ext cx="10250362" cy="751350"/>
          </a:xfrm>
        </p:spPr>
        <p:txBody>
          <a:bodyPr anchor="ctr">
            <a:normAutofit/>
          </a:bodyPr>
          <a:lstStyle/>
          <a:p>
            <a:r>
              <a:rPr lang="en-US"/>
              <a:t>Leaver Reporting Tip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E82893-163D-9566-D083-634AB1472B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86849" y="6529126"/>
            <a:ext cx="2743200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69C126A4-BD19-47E2-8A0E-0DE1B9D8C925}" type="slidenum">
              <a:rPr lang="en-US" smtClean="0"/>
              <a:pPr>
                <a:spcAft>
                  <a:spcPts val="600"/>
                </a:spcAft>
              </a:pPr>
              <a:t>24</a:t>
            </a:fld>
            <a:endParaRPr lang="en-US"/>
          </a:p>
        </p:txBody>
      </p:sp>
      <p:pic>
        <p:nvPicPr>
          <p:cNvPr id="5" name="Picture 4" descr="Leaver reporting tips.">
            <a:extLst>
              <a:ext uri="{FF2B5EF4-FFF2-40B4-BE49-F238E27FC236}">
                <a16:creationId xmlns:a16="http://schemas.microsoft.com/office/drawing/2014/main" id="{F17C2985-A437-248A-6E64-8F1D95F2D62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2936" y="1110723"/>
            <a:ext cx="11926127" cy="56771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203648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D66D92-620A-DBF1-13E4-F5BA081453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ecommended Local Ac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EE4A80A-E417-70F0-F3D0-34E21B52099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5468" y="1284270"/>
            <a:ext cx="11544581" cy="4563321"/>
          </a:xfrm>
        </p:spPr>
        <p:txBody>
          <a:bodyPr/>
          <a:lstStyle/>
          <a:p>
            <a:pPr marL="0" indent="0">
              <a:buNone/>
            </a:pPr>
            <a:r>
              <a:rPr lang="en-US" sz="3200" b="1"/>
              <a:t>Strengthen Processes &amp; Training​</a:t>
            </a:r>
          </a:p>
          <a:p>
            <a:pPr fontAlgn="base">
              <a:spcAft>
                <a:spcPts val="600"/>
              </a:spcAft>
            </a:pPr>
            <a:r>
              <a:rPr lang="en-US"/>
              <a:t>Submit TIMS tickets promptly for questions about leaver reason definitions or documentation requirements​</a:t>
            </a:r>
          </a:p>
          <a:p>
            <a:pPr fontAlgn="base">
              <a:spcAft>
                <a:spcPts val="600"/>
              </a:spcAft>
            </a:pPr>
            <a:r>
              <a:rPr lang="en-US"/>
              <a:t>Review and update local leaver manuals annually to align with current TEA requirements​ and agency best practices</a:t>
            </a:r>
          </a:p>
          <a:p>
            <a:pPr fontAlgn="base">
              <a:spcAft>
                <a:spcPts val="600"/>
              </a:spcAft>
            </a:pPr>
            <a:r>
              <a:rPr lang="en-US"/>
              <a:t>Provide annual training for staff on withdrawals, leaver reasons, documentation, and PEIMS reporting</a:t>
            </a:r>
          </a:p>
          <a:p>
            <a:endParaRPr lang="en-US" sz="3200" b="1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3FDD70-BF1B-271C-1C6D-7E1D3D4E81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9C126A4-BD19-47E2-8A0E-0DE1B9D8C925}" type="slidenum">
              <a:rPr lang="en-US" smtClean="0"/>
              <a:pPr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087816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F6A9F5-097D-FE60-9CEF-A6EC112DA1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8239BA-925C-D99B-3833-9CABEBD7DD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ommended Local Actions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BBE7DD-7E5D-18C1-D892-3E90F84831D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5468" y="1232899"/>
            <a:ext cx="11544581" cy="4754035"/>
          </a:xfrm>
        </p:spPr>
        <p:txBody>
          <a:bodyPr/>
          <a:lstStyle/>
          <a:p>
            <a:pPr marL="0" lvl="0" indent="0">
              <a:buNone/>
            </a:pPr>
            <a:r>
              <a:rPr lang="en-US" sz="3200" b="1"/>
              <a:t>Audit &amp; Validate Student Records​</a:t>
            </a:r>
          </a:p>
          <a:p>
            <a:pPr lvl="0">
              <a:spcAft>
                <a:spcPts val="600"/>
              </a:spcAft>
            </a:pPr>
            <a:r>
              <a:rPr lang="en-US"/>
              <a:t>Implement data validation checks to ensure </a:t>
            </a:r>
            <a:r>
              <a:rPr lang="en-US" i="1" err="1"/>
              <a:t>ExitWithdrawType</a:t>
            </a:r>
            <a:r>
              <a:rPr lang="en-US"/>
              <a:t> is submitted for all leavers (except graduates, </a:t>
            </a:r>
            <a:r>
              <a:rPr lang="en-US" err="1"/>
              <a:t>TxCHSE</a:t>
            </a:r>
            <a:r>
              <a:rPr lang="en-US"/>
              <a:t> earners, or movers)​</a:t>
            </a:r>
          </a:p>
          <a:p>
            <a:pPr>
              <a:spcAft>
                <a:spcPts val="600"/>
              </a:spcAft>
            </a:pPr>
            <a:r>
              <a:rPr lang="en-US"/>
              <a:t>Use TSDS Portal data validation reports in TEAL before final submission to identify missing leaver records​</a:t>
            </a:r>
          </a:p>
          <a:p>
            <a:pPr>
              <a:spcAft>
                <a:spcPts val="600"/>
              </a:spcAft>
            </a:pPr>
            <a:r>
              <a:rPr lang="en-US"/>
              <a:t>Review local "mover" identification practices; update SIS local codes to state-approved TEDS codes if student doesn't enroll elsewhere​</a:t>
            </a:r>
          </a:p>
          <a:p>
            <a:pPr>
              <a:spcAft>
                <a:spcPts val="600"/>
              </a:spcAft>
            </a:pPr>
            <a:r>
              <a:rPr lang="en-US"/>
              <a:t>Report </a:t>
            </a:r>
            <a:r>
              <a:rPr lang="en-US" i="1" err="1"/>
              <a:t>ExitWithdrawType</a:t>
            </a:r>
            <a:r>
              <a:rPr lang="en-US"/>
              <a:t> '98' when student whereabouts are unknown or required documentation cannot be obtained​</a:t>
            </a:r>
          </a:p>
          <a:p>
            <a:pPr>
              <a:spcAft>
                <a:spcPts val="600"/>
              </a:spcAft>
            </a:pPr>
            <a:r>
              <a:rPr lang="en-US"/>
              <a:t>Verify students returning by TEA school-start window are reported with accurate </a:t>
            </a:r>
            <a:r>
              <a:rPr lang="en-US" i="1" err="1"/>
              <a:t>AsOfStatusFirstFridayOctober</a:t>
            </a:r>
            <a:r>
              <a:rPr lang="en-US"/>
              <a:t>​ descriptor</a:t>
            </a:r>
          </a:p>
          <a:p>
            <a:endParaRPr lang="en-US"/>
          </a:p>
          <a:p>
            <a:pPr marL="0" indent="0">
              <a:buNone/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656702E-FDE8-6EA1-9130-880A44714AE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9C126A4-BD19-47E2-8A0E-0DE1B9D8C925}" type="slidenum">
              <a:rPr lang="en-US" smtClean="0"/>
              <a:pPr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933533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BA1B34-4455-3B2D-E02F-02477B94F7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ommended </a:t>
            </a:r>
            <a:r>
              <a:rPr lang="en-US"/>
              <a:t>Local Actions  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2A2EF9C-6E61-A9EE-5BDD-B8329E0333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5468" y="1284270"/>
            <a:ext cx="11544581" cy="4563321"/>
          </a:xfrm>
        </p:spPr>
        <p:txBody>
          <a:bodyPr/>
          <a:lstStyle/>
          <a:p>
            <a:pPr marL="0" indent="0">
              <a:buNone/>
            </a:pPr>
            <a:r>
              <a:rPr lang="en-US" sz="3200" b="1"/>
              <a:t>Documentation Requirements &amp; Best Practices​</a:t>
            </a:r>
          </a:p>
          <a:p>
            <a:pPr fontAlgn="base">
              <a:spcAft>
                <a:spcPts val="600"/>
              </a:spcAft>
            </a:pPr>
            <a:r>
              <a:rPr lang="en-US"/>
              <a:t>Ensure documentation meets TWEDS requirements: provider, signatures, dates, written vs. oral statements</a:t>
            </a:r>
          </a:p>
          <a:p>
            <a:pPr fontAlgn="base">
              <a:spcAft>
                <a:spcPts val="600"/>
              </a:spcAft>
            </a:pPr>
            <a:r>
              <a:rPr lang="en-US"/>
              <a:t>Collect required documentation separately from withdrawal process​</a:t>
            </a:r>
          </a:p>
          <a:p>
            <a:pPr fontAlgn="base">
              <a:spcAft>
                <a:spcPts val="600"/>
              </a:spcAft>
            </a:pPr>
            <a:r>
              <a:rPr lang="en-US"/>
              <a:t>Obtain documentation shortly after withdrawal, do not wait until PEIMS submission window​</a:t>
            </a:r>
          </a:p>
          <a:p>
            <a:pPr fontAlgn="base">
              <a:spcAft>
                <a:spcPts val="600"/>
              </a:spcAft>
            </a:pPr>
            <a:r>
              <a:rPr lang="en-US"/>
              <a:t>Do not pre-refill parent/guardian’s name or other related information on the documentation​</a:t>
            </a:r>
          </a:p>
          <a:p>
            <a:pPr fontAlgn="base">
              <a:spcAft>
                <a:spcPts val="600"/>
              </a:spcAft>
            </a:pPr>
            <a:r>
              <a:rPr lang="en-US"/>
              <a:t>Capture contact information for documentation provider for audit purposes​</a:t>
            </a:r>
          </a:p>
          <a:p>
            <a:endParaRPr lang="en-US" sz="3200" b="1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D28B44-50AE-1265-3D8B-0A30EE9060C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9C126A4-BD19-47E2-8A0E-0DE1B9D8C925}" type="slidenum">
              <a:rPr lang="en-US" smtClean="0"/>
              <a:pPr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011146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9F4054A-64CA-BB10-FEE6-A580AFAAFE8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E3379A-23BE-0095-1C68-797008D47D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6142" y="109756"/>
            <a:ext cx="11224437" cy="751350"/>
          </a:xfrm>
        </p:spPr>
        <p:txBody>
          <a:bodyPr/>
          <a:lstStyle/>
          <a:p>
            <a:r>
              <a:rPr lang="en-US"/>
              <a:t>ESC Assistance</a:t>
            </a:r>
            <a:endParaRPr lang="en-US" b="1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E5B4411-9BB7-D8BF-D89F-D747B70478B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6142" y="1281508"/>
            <a:ext cx="11838039" cy="4554213"/>
          </a:xfrm>
        </p:spPr>
        <p:txBody>
          <a:bodyPr lIns="91440" tIns="45720" rIns="91440" bIns="45720" anchor="ctr"/>
          <a:lstStyle/>
          <a:p>
            <a:pPr>
              <a:spcBef>
                <a:spcPts val="600"/>
              </a:spcBef>
              <a:spcAft>
                <a:spcPts val="1200"/>
              </a:spcAft>
            </a:pPr>
            <a:r>
              <a:rPr lang="en-US"/>
              <a:t>TEA encourages LEAs to reach out to independent parties, such as ESCs, to help with local audits and reviews. Therefore, </a:t>
            </a:r>
            <a:r>
              <a:rPr lang="en-US" b="1">
                <a:solidFill>
                  <a:schemeClr val="accent2"/>
                </a:solidFill>
              </a:rPr>
              <a:t>ESCs are welcome to provide assistance if requested by the LEA.</a:t>
            </a:r>
          </a:p>
          <a:p>
            <a:pPr>
              <a:spcBef>
                <a:spcPts val="600"/>
              </a:spcBef>
              <a:spcAft>
                <a:spcPts val="1200"/>
              </a:spcAft>
            </a:pPr>
            <a:r>
              <a:rPr lang="en-US"/>
              <a:t>Help ensure your LEAs are aware of underreported processing change (TAA will be released in April)</a:t>
            </a:r>
          </a:p>
          <a:p>
            <a:pPr>
              <a:spcBef>
                <a:spcPts val="600"/>
              </a:spcBef>
              <a:spcAft>
                <a:spcPts val="1200"/>
              </a:spcAft>
            </a:pPr>
            <a:r>
              <a:rPr lang="en-US" b="1">
                <a:solidFill>
                  <a:schemeClr val="accent2"/>
                </a:solidFill>
              </a:rPr>
              <a:t>Share common findings and recommended actions </a:t>
            </a:r>
            <a:r>
              <a:rPr lang="en-US"/>
              <a:t>from TEA’s compliance reviews and </a:t>
            </a:r>
            <a:r>
              <a:rPr lang="en-US" b="1">
                <a:solidFill>
                  <a:schemeClr val="accent2"/>
                </a:solidFill>
              </a:rPr>
              <a:t>assist LEAs in identifying similar issues </a:t>
            </a:r>
            <a:r>
              <a:rPr lang="en-US"/>
              <a:t>when reviewing their data and related policies and procedures</a:t>
            </a:r>
          </a:p>
          <a:p>
            <a:pPr>
              <a:spcBef>
                <a:spcPts val="600"/>
              </a:spcBef>
              <a:spcAft>
                <a:spcPts val="1200"/>
              </a:spcAft>
            </a:pPr>
            <a:r>
              <a:rPr lang="en-US"/>
              <a:t>Encourage LEAs to regularly check and update </a:t>
            </a:r>
            <a:r>
              <a:rPr lang="en-US" b="1" err="1">
                <a:solidFill>
                  <a:schemeClr val="accent2"/>
                </a:solidFill>
              </a:rPr>
              <a:t>AskTED</a:t>
            </a:r>
            <a:r>
              <a:rPr lang="en-US"/>
              <a:t> to ensure contact information for all district staff is up-to-date</a:t>
            </a:r>
          </a:p>
        </p:txBody>
      </p:sp>
    </p:spTree>
    <p:extLst>
      <p:ext uri="{BB962C8B-B14F-4D97-AF65-F5344CB8AC3E}">
        <p14:creationId xmlns:p14="http://schemas.microsoft.com/office/powerpoint/2010/main" val="113738498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6A2D54-A489-D785-B111-906066FF58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0C5688-8133-1647-A064-1EA3A4774B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469" y="160894"/>
            <a:ext cx="10250362" cy="751350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b="0" kern="1200">
                <a:latin typeface="Aptos" panose="020B0004020202020204" pitchFamily="34" charset="0"/>
                <a:ea typeface="+mj-ea"/>
                <a:cs typeface="+mj-cs"/>
              </a:rPr>
              <a:t>Contact Us</a:t>
            </a:r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A354CD3A-34B8-0B2F-44EF-8527E1CD06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86849" y="6529126"/>
            <a:ext cx="2743200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fld id="{69C126A4-BD19-47E2-8A0E-0DE1B9D8C925}" type="slidenum">
              <a:rPr lang="en-US" smtClean="0"/>
              <a:pPr>
                <a:spcAft>
                  <a:spcPts val="600"/>
                </a:spcAft>
              </a:pPr>
              <a:t>29</a:t>
            </a:fld>
            <a:endParaRPr lang="en-US"/>
          </a:p>
        </p:txBody>
      </p:sp>
      <p:graphicFrame>
        <p:nvGraphicFramePr>
          <p:cNvPr id="6" name="Content Placeholder 2">
            <a:extLst>
              <a:ext uri="{FF2B5EF4-FFF2-40B4-BE49-F238E27FC236}">
                <a16:creationId xmlns:a16="http://schemas.microsoft.com/office/drawing/2014/main" id="{0CF2CDCD-B55A-3A4B-9923-B76451DE72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63882162"/>
              </p:ext>
            </p:extLst>
          </p:nvPr>
        </p:nvGraphicFramePr>
        <p:xfrm>
          <a:off x="285469" y="1372962"/>
          <a:ext cx="11544581" cy="48839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410938824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105735-3EE0-C161-7E14-8E282833C9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ission Stateme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5592FE-49CE-936E-788E-BCC274E2B9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9C126A4-BD19-47E2-8A0E-0DE1B9D8C925}" type="slidenum">
              <a:rPr lang="en-US" smtClean="0"/>
              <a:pPr/>
              <a:t>3</a:t>
            </a:fld>
            <a:endParaRPr lang="en-US"/>
          </a:p>
        </p:txBody>
      </p:sp>
      <p:pic>
        <p:nvPicPr>
          <p:cNvPr id="6" name="Picture 5" descr="We equip school systems to increase awareness, promote equitable access, and improve outcomes for all special populations. &#10;">
            <a:extLst>
              <a:ext uri="{FF2B5EF4-FFF2-40B4-BE49-F238E27FC236}">
                <a16:creationId xmlns:a16="http://schemas.microsoft.com/office/drawing/2014/main" id="{E6D13BF3-A972-962B-FF43-BF977D4F891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35000"/>
          </a:blip>
          <a:srcRect t="18004" b="7842"/>
          <a:stretch/>
        </p:blipFill>
        <p:spPr>
          <a:xfrm>
            <a:off x="277436" y="1176250"/>
            <a:ext cx="11637127" cy="5212946"/>
          </a:xfrm>
          <a:prstGeom prst="rect">
            <a:avLst/>
          </a:prstGeom>
        </p:spPr>
      </p:pic>
      <p:sp>
        <p:nvSpPr>
          <p:cNvPr id="7" name="Rectangle 6" descr="We equip school systems to increase awareness, promote equitable access, and improve outcomes for all special populations.&#10;">
            <a:extLst>
              <a:ext uri="{FF2B5EF4-FFF2-40B4-BE49-F238E27FC236}">
                <a16:creationId xmlns:a16="http://schemas.microsoft.com/office/drawing/2014/main" id="{E14450E8-C600-12F9-D42B-81E279853881}"/>
              </a:ext>
            </a:extLst>
          </p:cNvPr>
          <p:cNvSpPr/>
          <p:nvPr/>
        </p:nvSpPr>
        <p:spPr>
          <a:xfrm>
            <a:off x="5315857" y="1571773"/>
            <a:ext cx="6358173" cy="4421899"/>
          </a:xfrm>
          <a:prstGeom prst="rect">
            <a:avLst/>
          </a:prstGeom>
          <a:solidFill>
            <a:schemeClr val="bg1">
              <a:alpha val="65000"/>
            </a:schemeClr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Content Placeholder 2" descr="We equip school systems to increase awareness, promote equitable access, and improve outcomes for all special populations.&#10;&#10;&#10;&#10;&#10;&#10;&#10;&#10;&#10;&#10;&#10;&#10;&#10;&#10;&#10;&#10;&#10;&#10;&#10;&#10;&#10;&#10;&#10;&#10;&#10;&#10;&#10;&#10;&#10;&#10;&#10;&#10;">
            <a:extLst>
              <a:ext uri="{FF2B5EF4-FFF2-40B4-BE49-F238E27FC236}">
                <a16:creationId xmlns:a16="http://schemas.microsoft.com/office/drawing/2014/main" id="{7231F2F2-567B-ED32-FB58-EF11B361ED0D}"/>
              </a:ext>
            </a:extLst>
          </p:cNvPr>
          <p:cNvSpPr txBox="1">
            <a:spLocks/>
          </p:cNvSpPr>
          <p:nvPr/>
        </p:nvSpPr>
        <p:spPr>
          <a:xfrm>
            <a:off x="5410650" y="2135310"/>
            <a:ext cx="6263380" cy="258738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1000"/>
              </a:spcBef>
              <a:buClr>
                <a:schemeClr val="accent2"/>
              </a:buClr>
              <a:buFont typeface="Wingdings" panose="05000000000000000000" pitchFamily="2" charset="2"/>
              <a:buNone/>
              <a:defRPr/>
            </a:pPr>
            <a:r>
              <a:rPr lang="en-US" sz="400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Proactively support school systems, keep students safe, and uphold Texas education law with integrity, objectivity, and excellenc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DDE37A5-93F3-7F49-40FE-9F6AB912CD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197" y="2222102"/>
            <a:ext cx="4165281" cy="31212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315375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72796C-ACCF-96ED-C3BF-C78386C647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469" y="160894"/>
            <a:ext cx="10250362" cy="751350"/>
          </a:xfrm>
        </p:spPr>
        <p:txBody>
          <a:bodyPr anchor="ctr">
            <a:normAutofit/>
          </a:bodyPr>
          <a:lstStyle/>
          <a:p>
            <a:r>
              <a:rPr lang="en-US"/>
              <a:t>Agenda</a:t>
            </a:r>
          </a:p>
        </p:txBody>
      </p:sp>
      <p:graphicFrame>
        <p:nvGraphicFramePr>
          <p:cNvPr id="3" name="Diagram 2" descr="Agenda for training.">
            <a:extLst>
              <a:ext uri="{FF2B5EF4-FFF2-40B4-BE49-F238E27FC236}">
                <a16:creationId xmlns:a16="http://schemas.microsoft.com/office/drawing/2014/main" id="{3B3970EF-C7F9-C30A-B64A-83ED77F1D9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20965971"/>
              </p:ext>
            </p:extLst>
          </p:nvPr>
        </p:nvGraphicFramePr>
        <p:xfrm>
          <a:off x="1929258" y="1110459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B927CB4-834E-6953-7B50-7115B38871A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86849" y="6529126"/>
            <a:ext cx="2743200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69C126A4-BD19-47E2-8A0E-0DE1B9D8C925}" type="slidenum">
              <a:rPr lang="en-US" smtClean="0"/>
              <a:pPr>
                <a:spcAft>
                  <a:spcPts val="600"/>
                </a:spcAft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794367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2505EE-0ECE-F5EF-328B-4EC4D7B88E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469" y="160894"/>
            <a:ext cx="10250362" cy="751350"/>
          </a:xfrm>
        </p:spPr>
        <p:txBody>
          <a:bodyPr anchor="ctr">
            <a:normAutofit/>
          </a:bodyPr>
          <a:lstStyle/>
          <a:p>
            <a:r>
              <a:rPr lang="en-US"/>
              <a:t>Self-Reported Data Unit (SRDU)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4299E6B-BE0B-A300-1A02-38C8356EF4F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14293" r="3" b="9061"/>
          <a:stretch>
            <a:fillRect/>
          </a:stretch>
        </p:blipFill>
        <p:spPr>
          <a:xfrm>
            <a:off x="384970" y="2564764"/>
            <a:ext cx="3318291" cy="2543404"/>
          </a:xfrm>
          <a:prstGeom prst="rect">
            <a:avLst/>
          </a:prstGeom>
          <a:noFill/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53A598D-FE3D-C5AA-D790-3D597E50056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14454" y="1204248"/>
            <a:ext cx="7992076" cy="5324878"/>
          </a:xfrm>
        </p:spPr>
        <p:txBody>
          <a:bodyPr>
            <a:noAutofit/>
          </a:bodyPr>
          <a:lstStyle/>
          <a:p>
            <a:pPr marL="0" indent="0">
              <a:spcAft>
                <a:spcPts val="600"/>
              </a:spcAft>
              <a:buNone/>
            </a:pPr>
            <a:r>
              <a:rPr lang="en-US" sz="2300"/>
              <a:t>SRDU supports </a:t>
            </a:r>
            <a:r>
              <a:rPr lang="en-US" sz="2300" b="1"/>
              <a:t>multiple data-driven systems </a:t>
            </a:r>
            <a:r>
              <a:rPr lang="en-US" sz="2300"/>
              <a:t>and </a:t>
            </a:r>
            <a:r>
              <a:rPr lang="en-US" sz="2300" b="1"/>
              <a:t>TEA program areas </a:t>
            </a:r>
            <a:r>
              <a:rPr lang="en-US" sz="2300"/>
              <a:t>by analyzing TSDS PEIMS data as well as reviewing Performance-Based Monitoring (PBM) data validation indicators</a:t>
            </a:r>
          </a:p>
          <a:p>
            <a:pPr marL="0" indent="0">
              <a:spcAft>
                <a:spcPts val="600"/>
              </a:spcAft>
              <a:buNone/>
            </a:pPr>
            <a:r>
              <a:rPr lang="en-US" sz="2300"/>
              <a:t>We </a:t>
            </a:r>
            <a:r>
              <a:rPr lang="en-US" sz="2300">
                <a:effectLst/>
              </a:rPr>
              <a:t>work to </a:t>
            </a:r>
            <a:r>
              <a:rPr lang="en-US" sz="2300" b="1">
                <a:effectLst/>
              </a:rPr>
              <a:t>improve the quality </a:t>
            </a:r>
            <a:r>
              <a:rPr lang="en-US" sz="2300">
                <a:effectLst/>
              </a:rPr>
              <a:t>of self-reported data the agency receives from LEAs through:</a:t>
            </a:r>
          </a:p>
          <a:p>
            <a:pPr marL="627063" indent="-339725">
              <a:spcBef>
                <a:spcPts val="1200"/>
              </a:spcBef>
              <a:spcAft>
                <a:spcPts val="600"/>
              </a:spcAft>
            </a:pPr>
            <a:r>
              <a:rPr lang="en-US" sz="2300" b="1"/>
              <a:t>Collaborating</a:t>
            </a:r>
            <a:r>
              <a:rPr lang="en-US" sz="2300" b="1" i="0">
                <a:effectLst/>
              </a:rPr>
              <a:t> with LEAs </a:t>
            </a:r>
            <a:r>
              <a:rPr lang="en-US" sz="2300" b="0" i="0">
                <a:effectLst/>
              </a:rPr>
              <a:t>to bring them into compliance and/or to establish better local practices for data reporting and any related practices (e.g., program implementation, maintenance of records); and</a:t>
            </a:r>
          </a:p>
          <a:p>
            <a:pPr marL="627063" indent="-339725">
              <a:spcBef>
                <a:spcPts val="1200"/>
              </a:spcBef>
              <a:spcAft>
                <a:spcPts val="600"/>
              </a:spcAft>
            </a:pPr>
            <a:r>
              <a:rPr lang="en-US" sz="2300" b="1"/>
              <a:t>C</a:t>
            </a:r>
            <a:r>
              <a:rPr lang="en-US" sz="2300" b="1" i="0">
                <a:effectLst/>
              </a:rPr>
              <a:t>ollaborating with TEA program areas</a:t>
            </a:r>
            <a:r>
              <a:rPr lang="en-US" sz="2300" b="0" i="0">
                <a:effectLst/>
              </a:rPr>
              <a:t> to ensure LEAs have access to the information and tools necessary to establish better local practices and accurately report data to the agency</a:t>
            </a:r>
            <a:endParaRPr lang="en-US" sz="2300">
              <a:effectLst/>
            </a:endParaRPr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281C3200-4729-3BE8-19BD-C02995ABAF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86849" y="6529126"/>
            <a:ext cx="2743200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fld id="{69C126A4-BD19-47E2-8A0E-0DE1B9D8C925}" type="slidenum">
              <a:rPr lang="en-US" smtClean="0"/>
              <a:pPr>
                <a:spcAft>
                  <a:spcPts val="600"/>
                </a:spcAft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124344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2505EE-0ECE-F5EF-328B-4EC4D7B88E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mpliance</a:t>
            </a:r>
            <a:r>
              <a:rPr lang="en-US" b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view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53A598D-FE3D-C5AA-D790-3D597E50056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5469" y="1409007"/>
            <a:ext cx="11544581" cy="5194992"/>
          </a:xfrm>
        </p:spPr>
        <p:txBody>
          <a:bodyPr/>
          <a:lstStyle/>
          <a:p>
            <a:pPr>
              <a:spcAft>
                <a:spcPts val="1200"/>
              </a:spcAft>
            </a:pPr>
            <a:r>
              <a:rPr lang="en-US" sz="2400" b="1">
                <a:solidFill>
                  <a:schemeClr val="accent2"/>
                </a:solidFill>
                <a:effectLst/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Compliance reviews </a:t>
            </a:r>
            <a:r>
              <a:rPr lang="en-US" sz="2400">
                <a:effectLst/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are issued whenever data anomalies or concerns have been identified that necessitate a closer review of an LEA’s data reporting and programmatic policies and procedures</a:t>
            </a:r>
          </a:p>
          <a:p>
            <a:pPr>
              <a:spcAft>
                <a:spcPts val="1200"/>
              </a:spcAft>
            </a:pPr>
            <a:r>
              <a:rPr lang="en-US" sz="2400">
                <a:effectLst/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Compliance review letters are sent to the superintendent via email and </a:t>
            </a:r>
            <a:r>
              <a:rPr lang="en-US" sz="2400" b="1">
                <a:solidFill>
                  <a:schemeClr val="accent2"/>
                </a:solidFill>
                <a:effectLst/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request documentation and other information</a:t>
            </a:r>
            <a:r>
              <a:rPr lang="en-US" sz="2400">
                <a:effectLst/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 by a particular deadline</a:t>
            </a:r>
          </a:p>
          <a:p>
            <a:pPr>
              <a:spcAft>
                <a:spcPts val="1200"/>
              </a:spcAft>
            </a:pPr>
            <a:r>
              <a:rPr lang="en-US" sz="2400"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SRDU </a:t>
            </a:r>
            <a:r>
              <a:rPr lang="en-US" sz="2400">
                <a:effectLst/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reviews response to determine whether the LEA is in compliance with all relevant state and federal laws, rules, and regulations related to the review</a:t>
            </a:r>
          </a:p>
          <a:p>
            <a:pPr>
              <a:spcAft>
                <a:spcPts val="1200"/>
              </a:spcAft>
            </a:pPr>
            <a:r>
              <a:rPr lang="en-US" sz="2400"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SRDU will work with LEAs to help bring them into compliance, if necessary</a:t>
            </a:r>
            <a:endParaRPr lang="en-US" sz="2400">
              <a:effectLst/>
              <a:latin typeface="+mn-lt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>
              <a:spcAft>
                <a:spcPts val="1200"/>
              </a:spcAft>
            </a:pPr>
            <a:r>
              <a:rPr lang="en-US" sz="2400"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SRDU also issues </a:t>
            </a:r>
            <a:r>
              <a:rPr lang="en-US" sz="2400" b="1">
                <a:solidFill>
                  <a:schemeClr val="accent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local audit requests </a:t>
            </a:r>
            <a:r>
              <a:rPr lang="en-US" sz="2400"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to LEAs – encourage them to review agency guidance, evaluate their policies and procedures, and ensure compliance with all statutory requirements </a:t>
            </a:r>
            <a:endParaRPr lang="en-US" sz="2400">
              <a:effectLst/>
              <a:latin typeface="+mn-lt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endParaRPr lang="en-US" sz="500">
              <a:solidFill>
                <a:schemeClr val="tx1"/>
              </a:solidFill>
              <a:effectLst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indent="0">
              <a:buNone/>
            </a:pPr>
            <a:endParaRPr lang="en-US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endParaRPr lang="en-US" sz="2400" b="1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endParaRPr lang="en-US" sz="2400">
              <a:effectLst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136987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920702-D438-CFC6-3EFE-278C3529CC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eaver Records Data Validation &amp; Complain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2A6F06B-5D1E-9FB6-1338-B11759A9239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/>
              <a:t>Leaver data concerns are identified through the </a:t>
            </a:r>
            <a:r>
              <a:rPr lang="en-US" b="1">
                <a:solidFill>
                  <a:schemeClr val="accent2"/>
                </a:solidFill>
              </a:rPr>
              <a:t>Leaver Records Data Validation (LRDV) system</a:t>
            </a:r>
            <a:r>
              <a:rPr lang="en-US"/>
              <a:t>, internal data analyses and monitoring, or </a:t>
            </a:r>
            <a:r>
              <a:rPr lang="en-US">
                <a:hlinkClick r:id="rId2"/>
              </a:rPr>
              <a:t>external complaints</a:t>
            </a:r>
            <a:endParaRPr lang="en-US"/>
          </a:p>
          <a:p>
            <a:pPr marL="0" indent="0">
              <a:buNone/>
            </a:pPr>
            <a:endParaRPr lang="en-US"/>
          </a:p>
          <a:p>
            <a:r>
              <a:rPr lang="en-US"/>
              <a:t>LRDV system is being refreshed; compliance reviews directly tied to LRDV indicators will resume in 2027 and will apply to 2025–26 school year leavers</a:t>
            </a:r>
          </a:p>
          <a:p>
            <a:pPr lvl="1"/>
            <a:r>
              <a:rPr lang="en-US">
                <a:hlinkClick r:id="rId3"/>
              </a:rPr>
              <a:t>TAA - Leaver Records Data Validation Updates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FB6D82-CC79-7A3E-F670-5E84CB7AEB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9C126A4-BD19-47E2-8A0E-0DE1B9D8C925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937329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0B03D9D-5D2F-EE43-7193-F0B76EE205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36F63E-C3F2-850D-68B1-FB142451162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667887" y="2991758"/>
            <a:ext cx="8688500" cy="1100516"/>
          </a:xfrm>
        </p:spPr>
        <p:txBody>
          <a:bodyPr/>
          <a:lstStyle/>
          <a:p>
            <a:r>
              <a:rPr lang="en-US"/>
              <a:t>Leaver Reporting Requirement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D8F8F79-964D-EBCA-0633-45270AB2EF2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9C126A4-BD19-47E2-8A0E-0DE1B9D8C925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94066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A2FD0D-7959-C697-33B6-63CF9728C1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B8173D-5457-A40F-39E0-1994D36507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469" y="160894"/>
            <a:ext cx="10250362" cy="751350"/>
          </a:xfrm>
        </p:spPr>
        <p:txBody>
          <a:bodyPr anchor="ctr">
            <a:normAutofit/>
          </a:bodyPr>
          <a:lstStyle/>
          <a:p>
            <a:r>
              <a:rPr lang="en-US"/>
              <a:t>Texas Education Data Standards</a:t>
            </a:r>
          </a:p>
        </p:txBody>
      </p:sp>
      <p:pic>
        <p:nvPicPr>
          <p:cNvPr id="9" name="Graphic 8" descr="Exit with solid fill">
            <a:extLst>
              <a:ext uri="{FF2B5EF4-FFF2-40B4-BE49-F238E27FC236}">
                <a16:creationId xmlns:a16="http://schemas.microsoft.com/office/drawing/2014/main" id="{CD5805C8-4BE6-A76A-F37C-0F7665582127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32185" y="1464969"/>
            <a:ext cx="1761115" cy="1761115"/>
          </a:xfrm>
          <a:prstGeom prst="rect">
            <a:avLst/>
          </a:prstGeom>
        </p:spPr>
      </p:pic>
      <p:pic>
        <p:nvPicPr>
          <p:cNvPr id="11" name="Graphic 10" descr="List with solid fill">
            <a:extLst>
              <a:ext uri="{FF2B5EF4-FFF2-40B4-BE49-F238E27FC236}">
                <a16:creationId xmlns:a16="http://schemas.microsoft.com/office/drawing/2014/main" id="{8C6A0FAF-91BD-5243-9CE5-E21DDE137EDE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64820" y="4065927"/>
            <a:ext cx="1761115" cy="1761115"/>
          </a:xfrm>
          <a:prstGeom prst="rect">
            <a:avLst/>
          </a:prstGeom>
        </p:spPr>
      </p:pic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C2EAEC96-FD96-331F-B424-A0D2AFA76B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693301" y="1547624"/>
            <a:ext cx="9064830" cy="4514129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US" b="1">
                <a:solidFill>
                  <a:schemeClr val="accent2"/>
                </a:solidFill>
              </a:rPr>
              <a:t>Leaver records</a:t>
            </a:r>
            <a:r>
              <a:rPr lang="en-US"/>
              <a:t>, which provide information about why a student in attendance in a given school year did not return to school within the school start window the next fall, </a:t>
            </a:r>
            <a:r>
              <a:rPr lang="en-US" b="1">
                <a:solidFill>
                  <a:schemeClr val="accent2"/>
                </a:solidFill>
              </a:rPr>
              <a:t>are</a:t>
            </a:r>
            <a:r>
              <a:rPr lang="en-US"/>
              <a:t> </a:t>
            </a:r>
            <a:r>
              <a:rPr lang="en-US" b="1">
                <a:solidFill>
                  <a:schemeClr val="accent2"/>
                </a:solidFill>
              </a:rPr>
              <a:t>required to be submitted for all leavers </a:t>
            </a:r>
            <a:r>
              <a:rPr lang="en-US"/>
              <a:t>with few exceptions</a:t>
            </a:r>
          </a:p>
          <a:p>
            <a:pPr marL="0" indent="0">
              <a:buNone/>
            </a:pPr>
            <a:endParaRPr lang="en-US" sz="4800"/>
          </a:p>
          <a:p>
            <a:pPr marL="0" indent="0">
              <a:buNone/>
            </a:pPr>
            <a:r>
              <a:rPr lang="en-US"/>
              <a:t>Furthermore, districts </a:t>
            </a:r>
            <a:r>
              <a:rPr lang="en-US" b="1">
                <a:solidFill>
                  <a:schemeClr val="accent2"/>
                </a:solidFill>
              </a:rPr>
              <a:t>must document </a:t>
            </a:r>
            <a:r>
              <a:rPr lang="en-US"/>
              <a:t>the withdrawal of students </a:t>
            </a:r>
            <a:r>
              <a:rPr lang="en-US" b="1">
                <a:solidFill>
                  <a:schemeClr val="accent2"/>
                </a:solidFill>
              </a:rPr>
              <a:t>and maintain </a:t>
            </a:r>
            <a:r>
              <a:rPr lang="en-US"/>
              <a:t>on file the appropriate paperwork associated with student withdrawals. </a:t>
            </a:r>
            <a:r>
              <a:rPr lang="en-US" b="1"/>
              <a:t>Documentation is required for all leaver reasons</a:t>
            </a:r>
            <a:r>
              <a:rPr lang="en-US"/>
              <a:t>, except </a:t>
            </a:r>
            <a:r>
              <a:rPr lang="en-US" err="1"/>
              <a:t>ExitWithdrawType</a:t>
            </a:r>
            <a:r>
              <a:rPr lang="en-US"/>
              <a:t> ‘98’</a:t>
            </a:r>
          </a:p>
          <a:p>
            <a:pPr marL="0" indent="0">
              <a:buNone/>
            </a:pPr>
            <a:endParaRPr lang="en-US" sz="26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9664A76-17AC-393E-D09A-A67FED57CF3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86849" y="6529126"/>
            <a:ext cx="2743200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69C126A4-BD19-47E2-8A0E-0DE1B9D8C925}" type="slidenum">
              <a:rPr lang="en-US" smtClean="0"/>
              <a:pPr>
                <a:spcAft>
                  <a:spcPts val="600"/>
                </a:spcAft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88215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4_Office Theme">
  <a:themeElements>
    <a:clrScheme name="TEA Colors - 2021">
      <a:dk1>
        <a:srgbClr val="000000"/>
      </a:dk1>
      <a:lt1>
        <a:srgbClr val="FFFFFF"/>
      </a:lt1>
      <a:dk2>
        <a:srgbClr val="41873F"/>
      </a:dk2>
      <a:lt2>
        <a:srgbClr val="D8D8D8"/>
      </a:lt2>
      <a:accent1>
        <a:srgbClr val="0D6CB9"/>
      </a:accent1>
      <a:accent2>
        <a:srgbClr val="F16038"/>
      </a:accent2>
      <a:accent3>
        <a:srgbClr val="B72418"/>
      </a:accent3>
      <a:accent4>
        <a:srgbClr val="704180"/>
      </a:accent4>
      <a:accent5>
        <a:srgbClr val="596167"/>
      </a:accent5>
      <a:accent6>
        <a:srgbClr val="012069"/>
      </a:accent6>
      <a:hlink>
        <a:srgbClr val="1682C5"/>
      </a:hlink>
      <a:folHlink>
        <a:srgbClr val="F06039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SC PEIMS Presentation" id="{925B4C1A-9A1A-4291-92B1-CF837D458E26}" vid="{D001E825-0E4C-4576-A5FD-16B9CFDAD54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8b308dec-44e9-41ba-9105-c37d42d4d7d5">
      <Terms xmlns="http://schemas.microsoft.com/office/infopath/2007/PartnerControls"/>
    </lcf76f155ced4ddcb4097134ff3c332f>
    <TaxCatchAll xmlns="914cbcb2-5bcb-4425-a58f-6719fa6b7e3e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D726EEED2315448B9566F4A1C3FC651" ma:contentTypeVersion="11" ma:contentTypeDescription="Create a new document." ma:contentTypeScope="" ma:versionID="70b9bf26ce3cad84213350508c610161">
  <xsd:schema xmlns:xsd="http://www.w3.org/2001/XMLSchema" xmlns:xs="http://www.w3.org/2001/XMLSchema" xmlns:p="http://schemas.microsoft.com/office/2006/metadata/properties" xmlns:ns2="8b308dec-44e9-41ba-9105-c37d42d4d7d5" xmlns:ns3="914cbcb2-5bcb-4425-a58f-6719fa6b7e3e" targetNamespace="http://schemas.microsoft.com/office/2006/metadata/properties" ma:root="true" ma:fieldsID="1e9ea6b9deb11e3b262072a4a761e742" ns2:_="" ns3:_="">
    <xsd:import namespace="8b308dec-44e9-41ba-9105-c37d42d4d7d5"/>
    <xsd:import namespace="914cbcb2-5bcb-4425-a58f-6719fa6b7e3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SearchProperties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b308dec-44e9-41ba-9105-c37d42d4d7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2" nillable="true" ma:taxonomy="true" ma:internalName="lcf76f155ced4ddcb4097134ff3c332f" ma:taxonomyFieldName="MediaServiceImageTags" ma:displayName="Image Tags" ma:readOnly="false" ma:fieldId="{5cf76f15-5ced-4ddc-b409-7134ff3c332f}" ma:taxonomyMulti="true" ma:sspId="3b7a77b5-e59d-49f3-97a2-3dde868dbe2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17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8" nillable="true" ma:displayName="MediaServiceDateTaken" ma:hidden="true" ma:indexed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14cbcb2-5bcb-4425-a58f-6719fa6b7e3e" elementFormDefault="qualified">
    <xsd:import namespace="http://schemas.microsoft.com/office/2006/documentManagement/types"/>
    <xsd:import namespace="http://schemas.microsoft.com/office/infopath/2007/PartnerControls"/>
    <xsd:element name="TaxCatchAll" ma:index="13" nillable="true" ma:displayName="Taxonomy Catch All Column" ma:hidden="true" ma:list="{efd189b1-0828-497f-9685-6d6f7c49a087}" ma:internalName="TaxCatchAll" ma:showField="CatchAllData" ma:web="914cbcb2-5bcb-4425-a58f-6719fa6b7e3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71E6AE2-FD78-458E-941A-83AC85AE66BD}">
  <ds:schemaRefs>
    <ds:schemaRef ds:uri="http://schemas.microsoft.com/office/2006/documentManagement/types"/>
    <ds:schemaRef ds:uri="http://purl.org/dc/elements/1.1/"/>
    <ds:schemaRef ds:uri="http://purl.org/dc/dcmitype/"/>
    <ds:schemaRef ds:uri="914cbcb2-5bcb-4425-a58f-6719fa6b7e3e"/>
    <ds:schemaRef ds:uri="http://purl.org/dc/terms/"/>
    <ds:schemaRef ds:uri="http://schemas.microsoft.com/office/infopath/2007/PartnerControls"/>
    <ds:schemaRef ds:uri="http://www.w3.org/XML/1998/namespace"/>
    <ds:schemaRef ds:uri="http://schemas.openxmlformats.org/package/2006/metadata/core-properties"/>
    <ds:schemaRef ds:uri="8b308dec-44e9-41ba-9105-c37d42d4d7d5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DB28F789-C664-4B0D-99AE-06D42AED0487}">
  <ds:schemaRefs>
    <ds:schemaRef ds:uri="8b308dec-44e9-41ba-9105-c37d42d4d7d5"/>
    <ds:schemaRef ds:uri="914cbcb2-5bcb-4425-a58f-6719fa6b7e3e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AF8554AA-C1A4-423D-9B24-F9A6C1F7B26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SC PEIMS Presentation</Template>
  <TotalTime>21</TotalTime>
  <Words>1295</Words>
  <Application>Microsoft Office PowerPoint</Application>
  <PresentationFormat>Widescreen</PresentationFormat>
  <Paragraphs>153</Paragraphs>
  <Slides>29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36" baseType="lpstr">
      <vt:lpstr>Aptos</vt:lpstr>
      <vt:lpstr>Arial</vt:lpstr>
      <vt:lpstr>Calibri</vt:lpstr>
      <vt:lpstr>Open Sans</vt:lpstr>
      <vt:lpstr>Wingdings</vt:lpstr>
      <vt:lpstr>4_Office Theme</vt:lpstr>
      <vt:lpstr>think-cell Slide</vt:lpstr>
      <vt:lpstr>Leaver Reporting and Documentation Requirements and Best Practices</vt:lpstr>
      <vt:lpstr>Today’s Presenters</vt:lpstr>
      <vt:lpstr>Mission Statement</vt:lpstr>
      <vt:lpstr>Agenda</vt:lpstr>
      <vt:lpstr>Self-Reported Data Unit (SRDU)</vt:lpstr>
      <vt:lpstr>Compliance Reviews</vt:lpstr>
      <vt:lpstr>Leaver Records Data Validation &amp; Complaints</vt:lpstr>
      <vt:lpstr>Leaver Reporting Requirements</vt:lpstr>
      <vt:lpstr>Texas Education Data Standards</vt:lpstr>
      <vt:lpstr>Texas Education Data Standards </vt:lpstr>
      <vt:lpstr>Documentation Requirements</vt:lpstr>
      <vt:lpstr>Compliance Review Findings</vt:lpstr>
      <vt:lpstr>Common Documentation Issues (Roadblocks)</vt:lpstr>
      <vt:lpstr>Common Reporting Issues</vt:lpstr>
      <vt:lpstr>Other Issues Across Frequently Reported Leaver Reasons</vt:lpstr>
      <vt:lpstr>Other Issues Across Frequently Reported Leaver Reasons </vt:lpstr>
      <vt:lpstr>Online Programs</vt:lpstr>
      <vt:lpstr>Leaver Reporting Processing Change</vt:lpstr>
      <vt:lpstr>Background</vt:lpstr>
      <vt:lpstr>Policy Change</vt:lpstr>
      <vt:lpstr>Impact on State Accountability</vt:lpstr>
      <vt:lpstr>Appeals</vt:lpstr>
      <vt:lpstr>Recommended Local Actions   </vt:lpstr>
      <vt:lpstr>Leaver Reporting Tips</vt:lpstr>
      <vt:lpstr>Recommended Local Actions</vt:lpstr>
      <vt:lpstr>Recommended Local Actions </vt:lpstr>
      <vt:lpstr>Recommended Local Actions  </vt:lpstr>
      <vt:lpstr>ESC Assistance</vt:lpstr>
      <vt:lpstr>Contact U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Wright, Brittany</dc:creator>
  <cp:lastModifiedBy>Muffoletto, Jamie</cp:lastModifiedBy>
  <cp:revision>3</cp:revision>
  <dcterms:created xsi:type="dcterms:W3CDTF">2026-03-24T14:11:32Z</dcterms:created>
  <dcterms:modified xsi:type="dcterms:W3CDTF">2026-03-30T22:13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D726EEED2315448B9566F4A1C3FC651</vt:lpwstr>
  </property>
</Properties>
</file>